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887" r:id="rId4"/>
  </p:sldMasterIdLst>
  <p:notesMasterIdLst>
    <p:notesMasterId r:id="rId7"/>
  </p:notesMasterIdLst>
  <p:handoutMasterIdLst>
    <p:handoutMasterId r:id="rId8"/>
  </p:handoutMasterIdLst>
  <p:sldIdLst>
    <p:sldId id="365" r:id="rId5"/>
    <p:sldId id="256" r:id="rId6"/>
  </p:sldIdLst>
  <p:sldSz cx="9144000" cy="6858000" type="screen4x3"/>
  <p:notesSz cx="7315200" cy="9601200"/>
  <p:custDataLst>
    <p:tags r:id="rId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0" userDrawn="1">
          <p15:clr>
            <a:srgbClr val="A4A3A4"/>
          </p15:clr>
        </p15:guide>
        <p15:guide id="11" orient="horz" pos="216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024">
          <p15:clr>
            <a:srgbClr val="A4A3A4"/>
          </p15:clr>
        </p15:guide>
        <p15:guide id="2" pos="2304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B291C"/>
    <a:srgbClr val="A7A8AA"/>
    <a:srgbClr val="75787B"/>
    <a:srgbClr val="86BC25"/>
    <a:srgbClr val="000000"/>
    <a:srgbClr val="FFCD00"/>
    <a:srgbClr val="ED8B00"/>
    <a:srgbClr val="FF9900"/>
    <a:srgbClr val="C00000"/>
    <a:srgbClr val="3C8A2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1338" autoAdjust="0"/>
    <p:restoredTop sz="91241" autoAdjust="0"/>
  </p:normalViewPr>
  <p:slideViewPr>
    <p:cSldViewPr snapToGrid="0" showGuides="1">
      <p:cViewPr varScale="1">
        <p:scale>
          <a:sx n="59" d="100"/>
          <a:sy n="59" d="100"/>
        </p:scale>
        <p:origin x="1592" y="64"/>
      </p:cViewPr>
      <p:guideLst>
        <p:guide/>
        <p:guide orient="horz" pos="2160"/>
      </p:guideLst>
    </p:cSldViewPr>
  </p:slideViewPr>
  <p:outlineViewPr>
    <p:cViewPr>
      <p:scale>
        <a:sx n="33" d="100"/>
        <a:sy n="33" d="100"/>
      </p:scale>
      <p:origin x="0" y="-5919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howGuides="1">
      <p:cViewPr varScale="1">
        <p:scale>
          <a:sx n="51" d="100"/>
          <a:sy n="51" d="100"/>
        </p:scale>
        <p:origin x="2814" y="72"/>
      </p:cViewPr>
      <p:guideLst>
        <p:guide orient="horz" pos="3024"/>
        <p:guide pos="230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notesMaster" Target="notesMasters/notesMaster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viewProps" Target="viewProps.xml"/><Relationship Id="rId5" Type="http://schemas.openxmlformats.org/officeDocument/2006/relationships/slide" Target="slides/slide1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4" y="1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/>
          <a:lstStyle>
            <a:lvl1pPr algn="l">
              <a:defRPr sz="11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143427" y="1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/>
          <a:lstStyle>
            <a:lvl1pPr algn="r">
              <a:defRPr sz="1100"/>
            </a:lvl1pPr>
          </a:lstStyle>
          <a:p>
            <a:fld id="{B4AD245C-091B-44E2-BFB0-BD94217887F7}" type="datetimeFigureOut">
              <a:rPr lang="en-US" smtClean="0">
                <a:latin typeface="Arial" panose="020B0604020202020204" pitchFamily="34" charset="0"/>
              </a:rPr>
              <a:t>3/20/2018</a:t>
            </a:fld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4" y="9120173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 anchor="b"/>
          <a:lstStyle>
            <a:lvl1pPr algn="l">
              <a:defRPr sz="11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143427" y="9120173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 anchor="b"/>
          <a:lstStyle>
            <a:lvl1pPr algn="r">
              <a:defRPr sz="1100"/>
            </a:lvl1pPr>
          </a:lstStyle>
          <a:p>
            <a:fld id="{9A913F39-CFF6-40F1-84D1-700840B41EAB}" type="slidenum">
              <a:rPr lang="en-US" smtClean="0">
                <a:latin typeface="Arial" panose="020B0604020202020204" pitchFamily="34" charset="0"/>
              </a:rPr>
              <a:t>‹#›</a:t>
            </a:fld>
            <a:endParaRPr lang="en-US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54813182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143589" y="1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0BA5BBE4-AEA3-489A-A28E-0C2FAF2506E3}" type="datetimeFigureOut">
              <a:rPr lang="en-US" smtClean="0"/>
              <a:pPr/>
              <a:t>3/20/2018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258888" y="720725"/>
            <a:ext cx="4797425" cy="35988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8478" tIns="49238" rIns="98478" bIns="49238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31520" y="4560571"/>
            <a:ext cx="5852160" cy="4320540"/>
          </a:xfrm>
          <a:prstGeom prst="rect">
            <a:avLst/>
          </a:prstGeom>
        </p:spPr>
        <p:txBody>
          <a:bodyPr vert="horz" lIns="98478" tIns="49238" rIns="98478" bIns="49238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119475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 anchor="b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143589" y="9119475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C0F4A2C8-6C88-4E71-83EE-698B9D4FE22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473029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258888" y="720725"/>
            <a:ext cx="47974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742684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258888" y="720725"/>
            <a:ext cx="47974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0656737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>
          <a:xfrm>
            <a:off x="1879392" y="727200"/>
            <a:ext cx="5400000" cy="540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77992" y="5864231"/>
            <a:ext cx="419400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bg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/>
              <a:buNone/>
              <a:tabLst/>
              <a:defRPr sz="1600" b="0">
                <a:solidFill>
                  <a:schemeClr val="bg1"/>
                </a:solidFill>
              </a:defRPr>
            </a:lvl2pPr>
            <a:lvl3pPr marL="0" indent="0" algn="l"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 dirty="0"/>
              <a:t>Click to edit Master title style</a:t>
            </a:r>
          </a:p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/>
              <a:buNone/>
              <a:tabLst/>
              <a:defRPr/>
            </a:pPr>
            <a:r>
              <a:rPr lang="en-US" noProof="0" dirty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76239" y="6381750"/>
            <a:ext cx="4195762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</p:txBody>
      </p:sp>
      <p:grpSp>
        <p:nvGrpSpPr>
          <p:cNvPr id="21" name="Group 20"/>
          <p:cNvGrpSpPr/>
          <p:nvPr userDrawn="1"/>
        </p:nvGrpSpPr>
        <p:grpSpPr>
          <a:xfrm>
            <a:off x="377991" y="378000"/>
            <a:ext cx="1620000" cy="307976"/>
            <a:chOff x="398463" y="404813"/>
            <a:chExt cx="1627187" cy="307976"/>
          </a:xfrm>
          <a:solidFill>
            <a:schemeClr val="bg1"/>
          </a:solidFill>
        </p:grpSpPr>
        <p:sp>
          <p:nvSpPr>
            <p:cNvPr id="11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3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4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5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6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7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8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9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20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0026451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4088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Deloitt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76238" y="1705671"/>
            <a:ext cx="790575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76238" y="3429000"/>
            <a:ext cx="790575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08100628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dark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76239" y="1628776"/>
            <a:ext cx="6864277" cy="475297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800">
                <a:solidFill>
                  <a:schemeClr val="bg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4751388" y="6477002"/>
            <a:ext cx="367242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376239" y="6477002"/>
            <a:ext cx="40163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fr-FR" sz="650" noProof="0" dirty="0" smtClean="0">
                <a:solidFill>
                  <a:schemeClr val="bg1"/>
                </a:solidFill>
              </a:rPr>
              <a:t>© 2017. For information, contact Deloitte Romania</a:t>
            </a:r>
            <a:endParaRPr lang="en-US" sz="650" noProof="0" dirty="0">
              <a:solidFill>
                <a:schemeClr val="bg1"/>
              </a:solidFill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8536783" y="6477002"/>
            <a:ext cx="230981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20346558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dark blu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76239" y="1627200"/>
            <a:ext cx="6958012" cy="4759584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800">
                <a:solidFill>
                  <a:schemeClr val="bg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4751388" y="6477002"/>
            <a:ext cx="367242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376239" y="6477002"/>
            <a:ext cx="40163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fr-FR" sz="650" noProof="0" dirty="0" smtClean="0">
                <a:solidFill>
                  <a:schemeClr val="bg1"/>
                </a:solidFill>
              </a:rPr>
              <a:t>© 2017. For information, contact Deloitte Romania</a:t>
            </a:r>
            <a:endParaRPr lang="en-US" sz="650" noProof="0" dirty="0">
              <a:solidFill>
                <a:schemeClr val="bg1"/>
              </a:solidFill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8536783" y="6477002"/>
            <a:ext cx="230981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10326552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teal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76239" y="1628776"/>
            <a:ext cx="6958012" cy="475297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800">
                <a:solidFill>
                  <a:schemeClr val="bg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4751388" y="6477002"/>
            <a:ext cx="367242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376239" y="6477002"/>
            <a:ext cx="40163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fr-FR" sz="650" noProof="0" dirty="0" smtClean="0">
                <a:solidFill>
                  <a:schemeClr val="bg1"/>
                </a:solidFill>
              </a:rPr>
              <a:t>© 2017. For information, contact Deloitte Romania</a:t>
            </a:r>
            <a:endParaRPr lang="en-US" sz="650" noProof="0" dirty="0">
              <a:solidFill>
                <a:schemeClr val="bg1"/>
              </a:solidFill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8536783" y="6477002"/>
            <a:ext cx="230981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7182227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76239" y="1628776"/>
            <a:ext cx="6958012" cy="475297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800">
                <a:solidFill>
                  <a:schemeClr val="bg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4751388" y="6477002"/>
            <a:ext cx="367242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376239" y="6477002"/>
            <a:ext cx="40163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fr-FR" sz="650" noProof="0" dirty="0" smtClean="0">
                <a:solidFill>
                  <a:schemeClr val="bg1"/>
                </a:solidFill>
              </a:rPr>
              <a:t>© 2017. For information, contact Deloitte Romania</a:t>
            </a:r>
            <a:endParaRPr lang="en-US" sz="650" noProof="0" dirty="0">
              <a:solidFill>
                <a:schemeClr val="bg1"/>
              </a:solidFill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8536783" y="6477002"/>
            <a:ext cx="230981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27335683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76239" y="1628776"/>
            <a:ext cx="6958012" cy="475297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800">
                <a:solidFill>
                  <a:schemeClr val="tx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3444149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376239" y="1665289"/>
            <a:ext cx="6958012" cy="4716463"/>
          </a:xfrm>
          <a:prstGeom prst="rect">
            <a:avLst/>
          </a:prstGeom>
        </p:spPr>
        <p:txBody>
          <a:bodyPr/>
          <a:lstStyle>
            <a:lvl1pPr>
              <a:tabLst>
                <a:tab pos="6729413" algn="r"/>
              </a:tabLst>
              <a:defRPr/>
            </a:lvl1pPr>
            <a:lvl2pPr>
              <a:tabLst>
                <a:tab pos="6729413" algn="r"/>
              </a:tabLst>
              <a:defRPr/>
            </a:lvl2pPr>
            <a:lvl3pPr>
              <a:tabLst>
                <a:tab pos="6729413" algn="r"/>
              </a:tabLst>
              <a:defRPr/>
            </a:lvl3pPr>
            <a:lvl4pPr>
              <a:tabLst>
                <a:tab pos="6729413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  <a:lvl6pPr>
              <a:tabLst>
                <a:tab pos="6729413" algn="r"/>
              </a:tabLst>
              <a:defRPr/>
            </a:lvl6pPr>
            <a:lvl7pPr>
              <a:tabLst>
                <a:tab pos="6729413" algn="r"/>
              </a:tabLst>
              <a:defRPr/>
            </a:lvl7pPr>
            <a:lvl8pPr>
              <a:tabLst>
                <a:tab pos="6729413" algn="r"/>
              </a:tabLst>
              <a:defRPr/>
            </a:lvl8pPr>
            <a:lvl9pPr>
              <a:tabLst>
                <a:tab pos="6729413" algn="r"/>
              </a:tabLst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9" y="317501"/>
            <a:ext cx="8385174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737651224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8" y="317501"/>
            <a:ext cx="8391525" cy="6985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5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4087763" y="1701801"/>
            <a:ext cx="4680000" cy="4679950"/>
          </a:xfrm>
        </p:spPr>
        <p:txBody>
          <a:bodyPr/>
          <a:lstStyle/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376239" y="1665289"/>
            <a:ext cx="3342322" cy="4716463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678094989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1"/>
            <a:ext cx="8391525" cy="698500"/>
          </a:xfr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376238" y="1665289"/>
            <a:ext cx="8374062" cy="47164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123127944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9" y="651600"/>
            <a:ext cx="837176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9" y="317501"/>
            <a:ext cx="8371762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376238" y="1665290"/>
            <a:ext cx="8374062" cy="471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823014658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>
          <a:xfrm>
            <a:off x="1867360" y="727200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76238" y="5864231"/>
            <a:ext cx="419576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1pPr>
            <a:lvl2pPr marL="0" indent="0" algn="l">
              <a:buNone/>
              <a:defRPr sz="1600" b="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 dirty="0"/>
              <a:t>Click to edit Master title style</a:t>
            </a:r>
          </a:p>
          <a:p>
            <a:pPr lvl="1"/>
            <a:r>
              <a:rPr lang="en-US" noProof="0" dirty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76239" y="6381750"/>
            <a:ext cx="4195762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</p:txBody>
      </p:sp>
      <p:grpSp>
        <p:nvGrpSpPr>
          <p:cNvPr id="7" name="Group 6"/>
          <p:cNvGrpSpPr/>
          <p:nvPr userDrawn="1"/>
        </p:nvGrpSpPr>
        <p:grpSpPr>
          <a:xfrm>
            <a:off x="377991" y="378000"/>
            <a:ext cx="1620000" cy="307976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8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0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1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2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3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4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5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6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7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8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38025405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4088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9" y="651600"/>
            <a:ext cx="837176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9" y="317501"/>
            <a:ext cx="8371762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376238" y="1700213"/>
            <a:ext cx="8374062" cy="46789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571167550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8" y="317501"/>
            <a:ext cx="8391525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376240" y="2052001"/>
            <a:ext cx="8391524" cy="4069013"/>
          </a:xfrm>
          <a:prstGeom prst="rect">
            <a:avLst/>
          </a:prstGeom>
        </p:spPr>
        <p:txBody>
          <a:bodyPr/>
          <a:lstStyle/>
          <a:p>
            <a:r>
              <a:rPr lang="en-US" noProof="0" smtClean="0"/>
              <a:t>Click icon to add chart</a:t>
            </a:r>
            <a:endParaRPr lang="en-US" noProof="0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376240" y="1665289"/>
            <a:ext cx="8391524" cy="392112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376238" y="6121015"/>
            <a:ext cx="8391525" cy="260737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63195189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8" y="317501"/>
            <a:ext cx="8391525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378000" y="2051999"/>
            <a:ext cx="2662162" cy="4069014"/>
          </a:xfrm>
          <a:prstGeom prst="rect">
            <a:avLst/>
          </a:prstGeom>
        </p:spPr>
        <p:txBody>
          <a:bodyPr/>
          <a:lstStyle/>
          <a:p>
            <a:r>
              <a:rPr lang="en-US" noProof="0" smtClean="0"/>
              <a:t>Click icon to add chart</a:t>
            </a:r>
            <a:endParaRPr lang="en-US" noProof="0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376238" y="1665289"/>
            <a:ext cx="2671763" cy="392112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3227388" y="2051999"/>
            <a:ext cx="2671212" cy="4069014"/>
          </a:xfrm>
          <a:prstGeom prst="rect">
            <a:avLst/>
          </a:prstGeom>
        </p:spPr>
        <p:txBody>
          <a:bodyPr/>
          <a:lstStyle/>
          <a:p>
            <a:r>
              <a:rPr lang="en-US" noProof="0" smtClean="0"/>
              <a:t>Click icon to add chart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3227389" y="1665289"/>
            <a:ext cx="2671211" cy="392112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6094798" y="2051999"/>
            <a:ext cx="2672965" cy="4069014"/>
          </a:xfrm>
          <a:prstGeom prst="rect">
            <a:avLst/>
          </a:prstGeom>
        </p:spPr>
        <p:txBody>
          <a:bodyPr/>
          <a:lstStyle/>
          <a:p>
            <a:r>
              <a:rPr lang="en-US" noProof="0" smtClean="0"/>
              <a:t>Click icon to add chart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6094798" y="1659145"/>
            <a:ext cx="2672966" cy="398256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376237" y="6121015"/>
            <a:ext cx="8374064" cy="260737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25263278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9" y="317501"/>
            <a:ext cx="8402002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9" y="651600"/>
            <a:ext cx="840200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376239" y="1665290"/>
            <a:ext cx="3979184" cy="4716461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4786155" y="1665290"/>
            <a:ext cx="3992086" cy="4716461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778861398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8" y="317500"/>
            <a:ext cx="8391525" cy="3341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quarter" idx="10"/>
          </p:nvPr>
        </p:nvSpPr>
        <p:spPr>
          <a:xfrm>
            <a:off x="376238" y="1665290"/>
            <a:ext cx="3979185" cy="471646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200" algn="r"/>
              </a:tabLst>
              <a:defRPr sz="1600"/>
            </a:lvl1pPr>
            <a:lvl2pPr>
              <a:tabLst>
                <a:tab pos="5029200" algn="r"/>
              </a:tabLst>
              <a:defRPr sz="1600"/>
            </a:lvl2pPr>
            <a:lvl3pPr>
              <a:tabLst>
                <a:tab pos="5029200" algn="r"/>
              </a:tabLst>
              <a:defRPr sz="1600"/>
            </a:lvl3pPr>
            <a:lvl4pPr>
              <a:tabLst>
                <a:tab pos="5029200" algn="r"/>
              </a:tabLst>
              <a:defRPr sz="1600"/>
            </a:lvl4pPr>
            <a:lvl5pPr>
              <a:tabLst>
                <a:tab pos="5029200" algn="r"/>
              </a:tabLst>
              <a:defRPr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3" name="Content Placeholder 3"/>
          <p:cNvSpPr>
            <a:spLocks noGrp="1"/>
          </p:cNvSpPr>
          <p:nvPr>
            <p:ph sz="quarter" idx="20"/>
          </p:nvPr>
        </p:nvSpPr>
        <p:spPr>
          <a:xfrm>
            <a:off x="4788000" y="1665290"/>
            <a:ext cx="3979763" cy="471646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200" algn="r"/>
              </a:tabLst>
              <a:defRPr sz="1600"/>
            </a:lvl1pPr>
            <a:lvl2pPr>
              <a:tabLst>
                <a:tab pos="5029200" algn="r"/>
              </a:tabLst>
              <a:defRPr sz="1600"/>
            </a:lvl2pPr>
            <a:lvl3pPr>
              <a:tabLst>
                <a:tab pos="5029200" algn="r"/>
              </a:tabLst>
              <a:defRPr sz="1600"/>
            </a:lvl3pPr>
            <a:lvl4pPr>
              <a:tabLst>
                <a:tab pos="5029200" algn="r"/>
              </a:tabLst>
              <a:defRPr sz="1600"/>
            </a:lvl4pPr>
            <a:lvl5pPr>
              <a:tabLst>
                <a:tab pos="5029200" algn="r"/>
              </a:tabLst>
              <a:defRPr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560941089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3"/>
          <p:cNvSpPr>
            <a:spLocks noGrp="1"/>
          </p:cNvSpPr>
          <p:nvPr>
            <p:ph sz="quarter" idx="10"/>
          </p:nvPr>
        </p:nvSpPr>
        <p:spPr>
          <a:xfrm>
            <a:off x="376239" y="1665290"/>
            <a:ext cx="4016374" cy="4455725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4755917" y="2125013"/>
            <a:ext cx="4011846" cy="3996000"/>
          </a:xfrm>
        </p:spPr>
        <p:txBody>
          <a:bodyPr/>
          <a:lstStyle/>
          <a:p>
            <a:r>
              <a:rPr lang="en-US" noProof="0" smtClean="0"/>
              <a:t>Click icon to add chart</a:t>
            </a:r>
            <a:endParaRPr lang="en-US" noProof="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4755917" y="1665288"/>
            <a:ext cx="4011846" cy="420687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8" y="317501"/>
            <a:ext cx="8391525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376238" y="6121015"/>
            <a:ext cx="8391525" cy="260737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01480436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4755916" y="2125013"/>
            <a:ext cx="4011847" cy="3996000"/>
          </a:xfrm>
        </p:spPr>
        <p:txBody>
          <a:bodyPr/>
          <a:lstStyle/>
          <a:p>
            <a:r>
              <a:rPr lang="en-US" noProof="0" smtClean="0"/>
              <a:t>Click icon to add chart</a:t>
            </a:r>
            <a:endParaRPr lang="en-US" noProof="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4755917" y="1665288"/>
            <a:ext cx="4011847" cy="420687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8" y="317501"/>
            <a:ext cx="8391525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376237" y="6121015"/>
            <a:ext cx="8374064" cy="260737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376239" y="2125013"/>
            <a:ext cx="4004297" cy="3996000"/>
          </a:xfrm>
        </p:spPr>
        <p:txBody>
          <a:bodyPr/>
          <a:lstStyle/>
          <a:p>
            <a:r>
              <a:rPr lang="en-US" noProof="0" smtClean="0"/>
              <a:t>Click icon to add chart</a:t>
            </a:r>
            <a:endParaRPr lang="en-US" noProof="0" dirty="0"/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376237" y="1665288"/>
            <a:ext cx="4004298" cy="420687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62450834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40" y="317501"/>
            <a:ext cx="8391524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376238" y="1665289"/>
            <a:ext cx="3323893" cy="4716463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4087762" y="1700215"/>
            <a:ext cx="4680000" cy="4681537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3710323228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 with quo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8" y="317500"/>
            <a:ext cx="8391525" cy="3341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5683412" y="1658680"/>
            <a:ext cx="3084351" cy="472307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200" algn="r"/>
              </a:tabLst>
              <a:defRPr sz="2400">
                <a:solidFill>
                  <a:schemeClr val="accent3"/>
                </a:solidFill>
              </a:defRPr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376238" y="1665288"/>
            <a:ext cx="4879761" cy="4716462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40" y="651600"/>
            <a:ext cx="8391524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2837432952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0"/>
            <a:ext cx="8391525" cy="334100"/>
          </a:xfr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4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376237" y="1700213"/>
            <a:ext cx="203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2495412" y="1700213"/>
            <a:ext cx="203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6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4614587" y="1700213"/>
            <a:ext cx="203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6733763" y="1700213"/>
            <a:ext cx="203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76238" y="3124200"/>
            <a:ext cx="2040351" cy="3257548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176400" indent="-176400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0"/>
              </a:spcAft>
              <a:defRPr baseline="0"/>
            </a:lvl5pPr>
            <a:lvl6pPr marL="356400" indent="-1764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0"/>
              </a:spcAft>
              <a:defRPr/>
            </a:lvl7pPr>
            <a:lvl8pPr marL="356400" indent="-176400">
              <a:spcAft>
                <a:spcPts val="0"/>
              </a:spcAft>
              <a:defRPr/>
            </a:lvl8pPr>
            <a:lvl9pPr marL="356400" indent="-176400">
              <a:spcAft>
                <a:spcPts val="0"/>
              </a:spcAft>
              <a:defRPr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12472" y="3120552"/>
            <a:ext cx="2034000" cy="3261199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176400" indent="-176400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0"/>
              </a:spcAft>
              <a:defRPr baseline="0"/>
            </a:lvl5pPr>
            <a:lvl6pPr marL="356400" indent="-1764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0"/>
              </a:spcAft>
              <a:defRPr/>
            </a:lvl7pPr>
            <a:lvl8pPr marL="356400" indent="-176400">
              <a:spcAft>
                <a:spcPts val="0"/>
              </a:spcAft>
              <a:defRPr/>
            </a:lvl8pPr>
            <a:lvl9pPr marL="356400" indent="-176400">
              <a:spcAft>
                <a:spcPts val="0"/>
              </a:spcAft>
              <a:defRPr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2497530" y="3124201"/>
            <a:ext cx="2034000" cy="3257549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176400" indent="-176400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0"/>
              </a:spcAft>
              <a:defRPr baseline="0"/>
            </a:lvl5pPr>
            <a:lvl6pPr marL="356400" indent="-1764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0"/>
              </a:spcAft>
              <a:defRPr/>
            </a:lvl7pPr>
            <a:lvl8pPr marL="356400" indent="-176400">
              <a:spcAft>
                <a:spcPts val="0"/>
              </a:spcAft>
              <a:defRPr/>
            </a:lvl8pPr>
            <a:lvl9pPr marL="356400" indent="-176400">
              <a:spcAft>
                <a:spcPts val="0"/>
              </a:spcAft>
              <a:defRPr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744877" y="3108508"/>
            <a:ext cx="2022887" cy="327324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176400" indent="-176400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0"/>
              </a:spcAft>
              <a:defRPr baseline="0"/>
            </a:lvl5pPr>
            <a:lvl6pPr marL="356400" indent="-1764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0"/>
              </a:spcAft>
              <a:defRPr/>
            </a:lvl7pPr>
            <a:lvl8pPr marL="356400" indent="-176400">
              <a:spcAft>
                <a:spcPts val="0"/>
              </a:spcAft>
              <a:defRPr/>
            </a:lvl8pPr>
            <a:lvl9pPr marL="356400" indent="-176400">
              <a:spcAft>
                <a:spcPts val="0"/>
              </a:spcAft>
              <a:defRPr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21" hasCustomPrompt="1"/>
          </p:nvPr>
        </p:nvSpPr>
        <p:spPr>
          <a:xfrm>
            <a:off x="376238" y="651600"/>
            <a:ext cx="8391526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1318691301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2502000" y="1368000"/>
            <a:ext cx="4140000" cy="414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4200"/>
              </a:lnSpc>
              <a:defRPr sz="3600" b="0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377992" y="5864231"/>
            <a:ext cx="419400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 smtClean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76239" y="6381750"/>
            <a:ext cx="4195762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</p:txBody>
      </p:sp>
      <p:grpSp>
        <p:nvGrpSpPr>
          <p:cNvPr id="21" name="Group 20"/>
          <p:cNvGrpSpPr/>
          <p:nvPr userDrawn="1"/>
        </p:nvGrpSpPr>
        <p:grpSpPr>
          <a:xfrm>
            <a:off x="377991" y="378000"/>
            <a:ext cx="1620000" cy="307976"/>
            <a:chOff x="398463" y="404813"/>
            <a:chExt cx="1627187" cy="307976"/>
          </a:xfrm>
          <a:solidFill>
            <a:schemeClr val="bg1"/>
          </a:solidFill>
        </p:grpSpPr>
        <p:sp>
          <p:nvSpPr>
            <p:cNvPr id="11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3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4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5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6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7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8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9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20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42588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4088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0"/>
            <a:ext cx="8391525" cy="334100"/>
          </a:xfr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4" name="Rectangle 3"/>
          <p:cNvSpPr/>
          <p:nvPr userDrawn="1"/>
        </p:nvSpPr>
        <p:spPr>
          <a:xfrm>
            <a:off x="378000" y="1707173"/>
            <a:ext cx="4122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4668064" y="1700213"/>
            <a:ext cx="4106300" cy="609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378000" y="4065173"/>
            <a:ext cx="4122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8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378000" y="1880213"/>
            <a:ext cx="1476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4668064" y="1880213"/>
            <a:ext cx="1476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10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378000" y="4256213"/>
            <a:ext cx="1476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31"/>
          </p:nvPr>
        </p:nvSpPr>
        <p:spPr>
          <a:xfrm>
            <a:off x="4668064" y="4256213"/>
            <a:ext cx="1476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012612" y="1880213"/>
            <a:ext cx="2466000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6297420" y="1880213"/>
            <a:ext cx="2476944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34"/>
          </p:nvPr>
        </p:nvSpPr>
        <p:spPr>
          <a:xfrm>
            <a:off x="2012612" y="4256213"/>
            <a:ext cx="2466000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35"/>
          </p:nvPr>
        </p:nvSpPr>
        <p:spPr>
          <a:xfrm>
            <a:off x="6297420" y="4256213"/>
            <a:ext cx="2476944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9" y="651600"/>
            <a:ext cx="837176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8" name="Rectangle 17"/>
          <p:cNvSpPr/>
          <p:nvPr userDrawn="1"/>
        </p:nvSpPr>
        <p:spPr>
          <a:xfrm>
            <a:off x="4626000" y="4067020"/>
            <a:ext cx="4122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09780147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3"/>
            <a:ext cx="8391525" cy="334099"/>
          </a:xfr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4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376238" y="1700215"/>
            <a:ext cx="2771775" cy="1971675"/>
          </a:xfrm>
        </p:spPr>
        <p:txBody>
          <a:bodyPr/>
          <a:lstStyle/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6004799" y="1700215"/>
            <a:ext cx="2762965" cy="1971675"/>
          </a:xfrm>
        </p:spPr>
        <p:txBody>
          <a:bodyPr/>
          <a:lstStyle/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3204806" y="1700215"/>
            <a:ext cx="2743200" cy="1971675"/>
          </a:xfrm>
        </p:spPr>
        <p:txBody>
          <a:bodyPr/>
          <a:lstStyle/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9" name="Text Placeholder 18"/>
          <p:cNvSpPr>
            <a:spLocks noGrp="1"/>
          </p:cNvSpPr>
          <p:nvPr>
            <p:ph idx="1" hasCustomPrompt="1"/>
          </p:nvPr>
        </p:nvSpPr>
        <p:spPr>
          <a:xfrm>
            <a:off x="376239" y="3832225"/>
            <a:ext cx="2762962" cy="2095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3" name="Text Placeholder 18"/>
          <p:cNvSpPr>
            <a:spLocks noGrp="1"/>
          </p:cNvSpPr>
          <p:nvPr>
            <p:ph idx="16" hasCustomPrompt="1"/>
          </p:nvPr>
        </p:nvSpPr>
        <p:spPr>
          <a:xfrm>
            <a:off x="3200400" y="3832225"/>
            <a:ext cx="2743200" cy="2095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4" name="Text Placeholder 18"/>
          <p:cNvSpPr>
            <a:spLocks noGrp="1"/>
          </p:cNvSpPr>
          <p:nvPr>
            <p:ph idx="17" hasCustomPrompt="1"/>
          </p:nvPr>
        </p:nvSpPr>
        <p:spPr>
          <a:xfrm>
            <a:off x="6004799" y="3832225"/>
            <a:ext cx="2762965" cy="2095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376239" y="651600"/>
            <a:ext cx="837176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2825433532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8" y="317501"/>
            <a:ext cx="8391525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526290818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78000" y="1857892"/>
            <a:ext cx="4100118" cy="1695450"/>
          </a:xfrm>
        </p:spPr>
        <p:txBody>
          <a:bodyPr/>
          <a:lstStyle>
            <a:lvl1pPr>
              <a:spcAft>
                <a:spcPts val="1000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4684646" y="1857892"/>
            <a:ext cx="4083117" cy="1695450"/>
          </a:xfrm>
        </p:spPr>
        <p:txBody>
          <a:bodyPr/>
          <a:lstStyle>
            <a:lvl1pPr>
              <a:spcAft>
                <a:spcPts val="1000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3"/>
            <a:ext cx="8391525" cy="334099"/>
          </a:xfr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4" name="Rectangle 3"/>
          <p:cNvSpPr/>
          <p:nvPr userDrawn="1"/>
        </p:nvSpPr>
        <p:spPr>
          <a:xfrm>
            <a:off x="378000" y="1705378"/>
            <a:ext cx="4100118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4684647" y="1705378"/>
            <a:ext cx="4089718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6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3577119" y="1863918"/>
            <a:ext cx="907655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 dirty="0">
                <a:solidFill>
                  <a:schemeClr val="bg1"/>
                </a:solidFill>
              </a:rPr>
              <a:t>Co-brand</a:t>
            </a:r>
            <a:br>
              <a:rPr lang="en-US" sz="1200" noProof="0" dirty="0">
                <a:solidFill>
                  <a:schemeClr val="bg1"/>
                </a:solidFill>
              </a:rPr>
            </a:br>
            <a:r>
              <a:rPr lang="en-US" sz="12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7818463" y="1857894"/>
            <a:ext cx="933121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 dirty="0">
                <a:solidFill>
                  <a:schemeClr val="bg1"/>
                </a:solidFill>
              </a:rPr>
              <a:t>Co-brand</a:t>
            </a:r>
            <a:br>
              <a:rPr lang="en-US" sz="1200" noProof="0" dirty="0">
                <a:solidFill>
                  <a:schemeClr val="bg1"/>
                </a:solidFill>
              </a:rPr>
            </a:br>
            <a:r>
              <a:rPr lang="en-US" sz="12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2355942686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78000" y="1857892"/>
            <a:ext cx="4101706" cy="1695450"/>
          </a:xfrm>
        </p:spPr>
        <p:txBody>
          <a:bodyPr/>
          <a:lstStyle>
            <a:lvl1pPr>
              <a:spcAft>
                <a:spcPts val="1000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4684646" y="1857892"/>
            <a:ext cx="4091001" cy="1695450"/>
          </a:xfrm>
        </p:spPr>
        <p:txBody>
          <a:bodyPr/>
          <a:lstStyle>
            <a:lvl1pPr>
              <a:spcAft>
                <a:spcPts val="1000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3"/>
            <a:ext cx="8391525" cy="334099"/>
          </a:xfr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4" name="Rectangle 3"/>
          <p:cNvSpPr/>
          <p:nvPr userDrawn="1"/>
        </p:nvSpPr>
        <p:spPr>
          <a:xfrm>
            <a:off x="378000" y="1705378"/>
            <a:ext cx="4100118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4684647" y="1705378"/>
            <a:ext cx="4089718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7818463" y="1857894"/>
            <a:ext cx="933121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 dirty="0">
                <a:solidFill>
                  <a:schemeClr val="bg1"/>
                </a:solidFill>
              </a:rPr>
              <a:t>Co-brand</a:t>
            </a:r>
            <a:br>
              <a:rPr lang="en-US" sz="1200" noProof="0" dirty="0">
                <a:solidFill>
                  <a:schemeClr val="bg1"/>
                </a:solidFill>
              </a:rPr>
            </a:br>
            <a:r>
              <a:rPr lang="en-US" sz="12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378000" y="4249682"/>
            <a:ext cx="4100118" cy="1695450"/>
          </a:xfrm>
        </p:spPr>
        <p:txBody>
          <a:bodyPr/>
          <a:lstStyle>
            <a:lvl1pPr>
              <a:spcAft>
                <a:spcPts val="1000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23"/>
          </p:nvPr>
        </p:nvSpPr>
        <p:spPr>
          <a:xfrm>
            <a:off x="4684646" y="4249682"/>
            <a:ext cx="4089719" cy="1695450"/>
          </a:xfrm>
        </p:spPr>
        <p:txBody>
          <a:bodyPr/>
          <a:lstStyle>
            <a:lvl1pPr>
              <a:spcAft>
                <a:spcPts val="1000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2" name="Rectangle 11"/>
          <p:cNvSpPr/>
          <p:nvPr userDrawn="1"/>
        </p:nvSpPr>
        <p:spPr>
          <a:xfrm>
            <a:off x="378001" y="4103518"/>
            <a:ext cx="4101707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4684646" y="4103518"/>
            <a:ext cx="4083537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14" name="Picture Placeholder 29"/>
          <p:cNvSpPr>
            <a:spLocks noGrp="1"/>
          </p:cNvSpPr>
          <p:nvPr>
            <p:ph type="pic" sz="quarter" idx="24" hasCustomPrompt="1"/>
          </p:nvPr>
        </p:nvSpPr>
        <p:spPr>
          <a:xfrm>
            <a:off x="3565871" y="4255708"/>
            <a:ext cx="929536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 dirty="0">
                <a:solidFill>
                  <a:schemeClr val="bg1"/>
                </a:solidFill>
              </a:rPr>
              <a:t>Co-brand</a:t>
            </a:r>
            <a:br>
              <a:rPr lang="en-US" sz="1200" noProof="0" dirty="0">
                <a:solidFill>
                  <a:schemeClr val="bg1"/>
                </a:solidFill>
              </a:rPr>
            </a:br>
            <a:r>
              <a:rPr lang="en-US" sz="12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5" name="Picture Placeholder 29"/>
          <p:cNvSpPr>
            <a:spLocks noGrp="1"/>
          </p:cNvSpPr>
          <p:nvPr>
            <p:ph type="pic" sz="quarter" idx="25" hasCustomPrompt="1"/>
          </p:nvPr>
        </p:nvSpPr>
        <p:spPr>
          <a:xfrm>
            <a:off x="7818463" y="4249684"/>
            <a:ext cx="933120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 dirty="0">
                <a:solidFill>
                  <a:schemeClr val="bg1"/>
                </a:solidFill>
              </a:rPr>
              <a:t>Co-brand</a:t>
            </a:r>
            <a:br>
              <a:rPr lang="en-US" sz="1200" noProof="0" dirty="0">
                <a:solidFill>
                  <a:schemeClr val="bg1"/>
                </a:solidFill>
              </a:rPr>
            </a:br>
            <a:r>
              <a:rPr lang="en-US" sz="12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9" y="651600"/>
            <a:ext cx="8398126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7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3577119" y="1863918"/>
            <a:ext cx="907655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 dirty="0">
                <a:solidFill>
                  <a:schemeClr val="bg1"/>
                </a:solidFill>
              </a:rPr>
              <a:t>Co-brand</a:t>
            </a:r>
            <a:br>
              <a:rPr lang="en-US" sz="1200" noProof="0" dirty="0">
                <a:solidFill>
                  <a:schemeClr val="bg1"/>
                </a:solidFill>
              </a:rPr>
            </a:br>
            <a:r>
              <a:rPr lang="en-US" sz="12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720577435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3"/>
            <a:ext cx="8391525" cy="334099"/>
          </a:xfr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268663" y="2034078"/>
            <a:ext cx="2663583" cy="3845754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9" y="651600"/>
            <a:ext cx="837176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1" name="Rectangle 10"/>
          <p:cNvSpPr/>
          <p:nvPr userDrawn="1"/>
        </p:nvSpPr>
        <p:spPr>
          <a:xfrm>
            <a:off x="376239" y="1700212"/>
            <a:ext cx="2665345" cy="4571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22451" y="2034078"/>
            <a:ext cx="2663583" cy="3845754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13" name="Rectangle 12"/>
          <p:cNvSpPr/>
          <p:nvPr userDrawn="1"/>
        </p:nvSpPr>
        <p:spPr>
          <a:xfrm>
            <a:off x="3322451" y="1698608"/>
            <a:ext cx="2665345" cy="4571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376238" y="2017975"/>
            <a:ext cx="2663583" cy="3845754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6244448" y="1720096"/>
            <a:ext cx="2665345" cy="4571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88245593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3"/>
            <a:ext cx="8391525" cy="334099"/>
          </a:xfr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6" name="Rectangle 5"/>
          <p:cNvSpPr/>
          <p:nvPr userDrawn="1"/>
        </p:nvSpPr>
        <p:spPr>
          <a:xfrm>
            <a:off x="5082139" y="1700215"/>
            <a:ext cx="3692226" cy="5975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378001" y="1851441"/>
            <a:ext cx="3690464" cy="3845754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5082140" y="1851441"/>
            <a:ext cx="3692225" cy="3845754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9" y="651600"/>
            <a:ext cx="837176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1" name="Rectangle 10"/>
          <p:cNvSpPr/>
          <p:nvPr userDrawn="1"/>
        </p:nvSpPr>
        <p:spPr>
          <a:xfrm>
            <a:off x="376238" y="1700214"/>
            <a:ext cx="3692226" cy="5975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23736046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3"/>
            <a:ext cx="8391525" cy="334099"/>
          </a:xfr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78000" y="2556000"/>
            <a:ext cx="1944000" cy="33948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822627" y="2556000"/>
            <a:ext cx="1944000" cy="33948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2526209" y="2556000"/>
            <a:ext cx="1944000" cy="33948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674418" y="2556000"/>
            <a:ext cx="1944000" cy="33948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740977880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 column icon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0"/>
            <a:ext cx="8391526" cy="37019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78000" y="2556000"/>
            <a:ext cx="1944000" cy="33948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  <a:lvl2pPr>
              <a:spcAft>
                <a:spcPts val="1000"/>
              </a:spcAft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1000"/>
              </a:spcAft>
              <a:buNone/>
              <a:defRPr>
                <a:solidFill>
                  <a:schemeClr val="bg1"/>
                </a:solidFill>
              </a:defRPr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 marL="356400" indent="-176400">
              <a:spcAft>
                <a:spcPts val="1000"/>
              </a:spcAft>
              <a:defRPr baseline="0">
                <a:solidFill>
                  <a:schemeClr val="bg1"/>
                </a:solidFill>
              </a:defRPr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356400" indent="-176400">
              <a:spcAft>
                <a:spcPts val="1000"/>
              </a:spcAft>
              <a:defRPr>
                <a:solidFill>
                  <a:schemeClr val="bg1"/>
                </a:solidFill>
              </a:defRPr>
            </a:lvl7pPr>
            <a:lvl8pPr marL="356400" indent="-176400">
              <a:spcAft>
                <a:spcPts val="1000"/>
              </a:spcAft>
              <a:defRPr>
                <a:solidFill>
                  <a:schemeClr val="bg1"/>
                </a:solidFill>
              </a:defRPr>
            </a:lvl8pPr>
            <a:lvl9pPr marL="356400" indent="-176400">
              <a:spcAft>
                <a:spcPts val="1000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825564" y="2556000"/>
            <a:ext cx="1944000" cy="33948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  <a:lvl2pPr>
              <a:spcAft>
                <a:spcPts val="1000"/>
              </a:spcAft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1000"/>
              </a:spcAft>
              <a:buNone/>
              <a:defRPr>
                <a:solidFill>
                  <a:schemeClr val="bg1"/>
                </a:solidFill>
              </a:defRPr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 marL="356400" indent="-176400">
              <a:spcAft>
                <a:spcPts val="1000"/>
              </a:spcAft>
              <a:defRPr baseline="0">
                <a:solidFill>
                  <a:schemeClr val="bg1"/>
                </a:solidFill>
              </a:defRPr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356400" indent="-176400">
              <a:spcAft>
                <a:spcPts val="1000"/>
              </a:spcAft>
              <a:defRPr>
                <a:solidFill>
                  <a:schemeClr val="bg1"/>
                </a:solidFill>
              </a:defRPr>
            </a:lvl7pPr>
            <a:lvl8pPr marL="356400" indent="-176400">
              <a:spcAft>
                <a:spcPts val="1000"/>
              </a:spcAft>
              <a:defRPr>
                <a:solidFill>
                  <a:schemeClr val="bg1"/>
                </a:solidFill>
              </a:defRPr>
            </a:lvl8pPr>
            <a:lvl9pPr marL="356400" indent="-176400">
              <a:spcAft>
                <a:spcPts val="1000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2527188" y="2556000"/>
            <a:ext cx="1944000" cy="33948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  <a:lvl2pPr>
              <a:spcAft>
                <a:spcPts val="1000"/>
              </a:spcAft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1000"/>
              </a:spcAft>
              <a:buNone/>
              <a:defRPr>
                <a:solidFill>
                  <a:schemeClr val="bg1"/>
                </a:solidFill>
              </a:defRPr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 marL="356400" indent="-176400">
              <a:spcAft>
                <a:spcPts val="1000"/>
              </a:spcAft>
              <a:defRPr baseline="0">
                <a:solidFill>
                  <a:schemeClr val="bg1"/>
                </a:solidFill>
              </a:defRPr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356400" indent="-176400">
              <a:spcAft>
                <a:spcPts val="1000"/>
              </a:spcAft>
              <a:defRPr>
                <a:solidFill>
                  <a:schemeClr val="bg1"/>
                </a:solidFill>
              </a:defRPr>
            </a:lvl7pPr>
            <a:lvl8pPr marL="356400" indent="-176400">
              <a:spcAft>
                <a:spcPts val="1000"/>
              </a:spcAft>
              <a:defRPr>
                <a:solidFill>
                  <a:schemeClr val="bg1"/>
                </a:solidFill>
              </a:defRPr>
            </a:lvl8pPr>
            <a:lvl9pPr marL="356400" indent="-176400">
              <a:spcAft>
                <a:spcPts val="1000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676376" y="2556000"/>
            <a:ext cx="1944000" cy="33948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  <a:lvl2pPr>
              <a:spcAft>
                <a:spcPts val="1000"/>
              </a:spcAft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1000"/>
              </a:spcAft>
              <a:buNone/>
              <a:defRPr>
                <a:solidFill>
                  <a:schemeClr val="bg1"/>
                </a:solidFill>
              </a:defRPr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 marL="356400" indent="-176400">
              <a:spcAft>
                <a:spcPts val="1000"/>
              </a:spcAft>
              <a:defRPr baseline="0">
                <a:solidFill>
                  <a:schemeClr val="bg1"/>
                </a:solidFill>
              </a:defRPr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356400" indent="-176400">
              <a:spcAft>
                <a:spcPts val="1000"/>
              </a:spcAft>
              <a:defRPr>
                <a:solidFill>
                  <a:schemeClr val="bg1"/>
                </a:solidFill>
              </a:defRPr>
            </a:lvl7pPr>
            <a:lvl8pPr marL="356400" indent="-176400">
              <a:spcAft>
                <a:spcPts val="1000"/>
              </a:spcAft>
              <a:defRPr>
                <a:solidFill>
                  <a:schemeClr val="bg1"/>
                </a:solidFill>
              </a:defRPr>
            </a:lvl8pPr>
            <a:lvl9pPr marL="356400" indent="-176400">
              <a:spcAft>
                <a:spcPts val="1000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87696"/>
            <a:ext cx="8391526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4751388" y="6477002"/>
            <a:ext cx="367242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376239" y="6477002"/>
            <a:ext cx="40163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fr-FR" sz="650" noProof="0" dirty="0" smtClean="0">
                <a:solidFill>
                  <a:schemeClr val="bg1"/>
                </a:solidFill>
              </a:rPr>
              <a:t>© 2017. For information, contact Deloitte Romania</a:t>
            </a:r>
            <a:endParaRPr lang="en-US" sz="650" noProof="0" dirty="0">
              <a:solidFill>
                <a:schemeClr val="bg1"/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8536783" y="6477002"/>
            <a:ext cx="230981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0078643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1 column text with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8" y="317501"/>
            <a:ext cx="8391525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10" name="Text Placeholder 18"/>
          <p:cNvSpPr>
            <a:spLocks noGrp="1"/>
          </p:cNvSpPr>
          <p:nvPr>
            <p:ph idx="1"/>
          </p:nvPr>
        </p:nvSpPr>
        <p:spPr>
          <a:xfrm>
            <a:off x="376238" y="1665289"/>
            <a:ext cx="4195763" cy="47164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458055343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2502000" y="1368000"/>
            <a:ext cx="4140000" cy="414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4200"/>
              </a:lnSpc>
              <a:defRPr sz="3600" b="0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376238" y="5864231"/>
            <a:ext cx="419576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 smtClean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76239" y="6381750"/>
            <a:ext cx="4195762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50281186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4088" userDrawn="1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206936707"/>
      </p:ext>
    </p:extLst>
  </p:cSld>
  <p:clrMapOvr>
    <a:masterClrMapping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69826469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green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76238" y="1705671"/>
            <a:ext cx="790575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76238" y="3429000"/>
            <a:ext cx="790575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5" name="TextBox 4"/>
          <p:cNvSpPr txBox="1"/>
          <p:nvPr userDrawn="1"/>
        </p:nvSpPr>
        <p:spPr>
          <a:xfrm>
            <a:off x="4751388" y="6477002"/>
            <a:ext cx="367242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endParaRPr lang="en-US" sz="650" noProof="0" dirty="0" smtClean="0">
              <a:solidFill>
                <a:schemeClr val="bg1"/>
              </a:solidFill>
            </a:endParaRPr>
          </a:p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 smtClean="0">
                <a:solidFill>
                  <a:schemeClr val="bg1"/>
                </a:solidFill>
              </a:rPr>
              <a:t>GDPR </a:t>
            </a:r>
            <a:endParaRPr lang="en-US" sz="650" noProof="0" dirty="0">
              <a:solidFill>
                <a:schemeClr val="bg1"/>
              </a:solidFill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376239" y="6477002"/>
            <a:ext cx="40163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fr-FR" sz="650" noProof="0" dirty="0" smtClean="0">
                <a:solidFill>
                  <a:schemeClr val="bg1"/>
                </a:solidFill>
              </a:rPr>
              <a:t>© 2018. For information, contact Deloitte Romania</a:t>
            </a:r>
            <a:endParaRPr lang="en-US" sz="650" noProof="0" dirty="0">
              <a:solidFill>
                <a:schemeClr val="bg1"/>
              </a:solidFill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8536783" y="6477002"/>
            <a:ext cx="230981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46135309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dark green">
    <p:bg bwMode="gray"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76238" y="1705671"/>
            <a:ext cx="790575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76239" y="3429000"/>
            <a:ext cx="790805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8536783" y="6477002"/>
            <a:ext cx="230981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4751388" y="6477001"/>
            <a:ext cx="3672420" cy="2000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endParaRPr lang="en-US" sz="650" noProof="0" dirty="0" smtClean="0">
              <a:solidFill>
                <a:schemeClr val="bg1"/>
              </a:solidFill>
            </a:endParaRPr>
          </a:p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 smtClean="0">
                <a:solidFill>
                  <a:schemeClr val="bg1"/>
                </a:solidFill>
              </a:rPr>
              <a:t>GDPR </a:t>
            </a:r>
            <a:endParaRPr lang="en-US" sz="650" noProof="0" dirty="0">
              <a:solidFill>
                <a:schemeClr val="bg1"/>
              </a:solidFill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376237" y="6477000"/>
            <a:ext cx="4016376" cy="20126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fr-FR" sz="650" noProof="0" dirty="0" smtClean="0">
                <a:solidFill>
                  <a:schemeClr val="bg1"/>
                </a:solidFill>
              </a:rPr>
              <a:t>© 2018. For information, contact Deloitte Romania</a:t>
            </a:r>
            <a:endParaRPr lang="en-US" sz="650" noProof="0" dirty="0" smtClean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11335563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ue">
    <p:bg bwMode="gray"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76238" y="1705671"/>
            <a:ext cx="790575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76238" y="3429000"/>
            <a:ext cx="790575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8536783" y="6477002"/>
            <a:ext cx="230981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4751388" y="6477001"/>
            <a:ext cx="3672420" cy="2000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 smtClean="0">
                <a:solidFill>
                  <a:schemeClr val="bg1"/>
                </a:solidFill>
              </a:rPr>
              <a:t>GDPR</a:t>
            </a:r>
            <a:endParaRPr lang="en-US" sz="650" noProof="0" dirty="0">
              <a:solidFill>
                <a:schemeClr val="bg1"/>
              </a:solidFill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376237" y="6477000"/>
            <a:ext cx="4016376" cy="20126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fr-FR" sz="650" noProof="0" dirty="0" smtClean="0">
                <a:solidFill>
                  <a:schemeClr val="bg1"/>
                </a:solidFill>
              </a:rPr>
              <a:t>© 2018. For information, contact Deloitte Romania</a:t>
            </a:r>
            <a:endParaRPr lang="en-US" sz="650" noProof="0" dirty="0" smtClean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6779729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dark blue">
    <p:bg bwMode="gray"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76238" y="1705671"/>
            <a:ext cx="790575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76238" y="3429000"/>
            <a:ext cx="790575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4751388" y="6477002"/>
            <a:ext cx="367242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376239" y="6477002"/>
            <a:ext cx="40163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fr-FR" sz="650" noProof="0" dirty="0" smtClean="0">
                <a:solidFill>
                  <a:schemeClr val="bg1"/>
                </a:solidFill>
              </a:rPr>
              <a:t>© 2017. For information, contact Deloitte Romania</a:t>
            </a:r>
            <a:endParaRPr lang="en-US" sz="650" noProof="0" dirty="0">
              <a:solidFill>
                <a:schemeClr val="bg1"/>
              </a:solidFill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8536783" y="6477002"/>
            <a:ext cx="230981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96843119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76238" y="1705671"/>
            <a:ext cx="790575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76238" y="3429000"/>
            <a:ext cx="790575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4751388" y="6477002"/>
            <a:ext cx="367242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376239" y="6477002"/>
            <a:ext cx="40163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fr-FR" sz="650" noProof="0" dirty="0" smtClean="0">
                <a:solidFill>
                  <a:schemeClr val="bg1"/>
                </a:solidFill>
              </a:rPr>
              <a:t>© 2017. For information, contact Deloitte Romania</a:t>
            </a:r>
            <a:endParaRPr lang="en-US" sz="650" noProof="0" dirty="0">
              <a:solidFill>
                <a:schemeClr val="bg1"/>
              </a:solidFill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8536783" y="6477002"/>
            <a:ext cx="230981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41691018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44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01" name="think-cell Slide" r:id="rId45" imgW="270" imgH="270" progId="TCLayout.ActiveDocument.1">
                  <p:embed/>
                </p:oleObj>
              </mc:Choice>
              <mc:Fallback>
                <p:oleObj name="think-cell Slide" r:id="rId45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376238" y="317501"/>
            <a:ext cx="8391525" cy="69215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5" name="TextBox 14"/>
          <p:cNvSpPr txBox="1"/>
          <p:nvPr userDrawn="1"/>
        </p:nvSpPr>
        <p:spPr>
          <a:xfrm>
            <a:off x="4751388" y="6477001"/>
            <a:ext cx="3672420" cy="2000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 smtClean="0">
                <a:solidFill>
                  <a:schemeClr val="tx1"/>
                </a:solidFill>
              </a:rPr>
              <a:t>GDPR</a:t>
            </a:r>
            <a:endParaRPr lang="en-US" sz="650" noProof="0" dirty="0">
              <a:solidFill>
                <a:schemeClr val="tx1"/>
              </a:solidFill>
            </a:endParaRPr>
          </a:p>
        </p:txBody>
      </p:sp>
      <p:sp>
        <p:nvSpPr>
          <p:cNvPr id="18" name="TextBox 17"/>
          <p:cNvSpPr txBox="1"/>
          <p:nvPr userDrawn="1"/>
        </p:nvSpPr>
        <p:spPr>
          <a:xfrm>
            <a:off x="376237" y="6477000"/>
            <a:ext cx="4016376" cy="20126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fr-FR" sz="650" noProof="0" dirty="0" smtClean="0">
                <a:solidFill>
                  <a:schemeClr val="tx1"/>
                </a:solidFill>
              </a:rPr>
              <a:t>© 2018. For information, contact Deloitte Romania</a:t>
            </a:r>
            <a:endParaRPr lang="en-US" sz="650" noProof="0" dirty="0" smtClean="0">
              <a:solidFill>
                <a:schemeClr val="tx1"/>
              </a:solidFill>
            </a:endParaRP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376238" y="1665289"/>
            <a:ext cx="8391525" cy="471646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3" name="TextBox 2"/>
          <p:cNvSpPr txBox="1"/>
          <p:nvPr userDrawn="1"/>
        </p:nvSpPr>
        <p:spPr>
          <a:xfrm>
            <a:off x="8536783" y="6477002"/>
            <a:ext cx="230981" cy="10002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tx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377730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8" r:id="rId1"/>
    <p:sldLayoutId id="2147483889" r:id="rId2"/>
    <p:sldLayoutId id="2147483890" r:id="rId3"/>
    <p:sldLayoutId id="2147483891" r:id="rId4"/>
    <p:sldLayoutId id="2147483892" r:id="rId5"/>
    <p:sldLayoutId id="2147483893" r:id="rId6"/>
    <p:sldLayoutId id="2147483894" r:id="rId7"/>
    <p:sldLayoutId id="2147483895" r:id="rId8"/>
    <p:sldLayoutId id="2147483896" r:id="rId9"/>
    <p:sldLayoutId id="2147483897" r:id="rId10"/>
    <p:sldLayoutId id="2147483898" r:id="rId11"/>
    <p:sldLayoutId id="2147483899" r:id="rId12"/>
    <p:sldLayoutId id="2147483900" r:id="rId13"/>
    <p:sldLayoutId id="2147483901" r:id="rId14"/>
    <p:sldLayoutId id="2147483902" r:id="rId15"/>
    <p:sldLayoutId id="2147483903" r:id="rId16"/>
    <p:sldLayoutId id="2147483904" r:id="rId17"/>
    <p:sldLayoutId id="2147483905" r:id="rId18"/>
    <p:sldLayoutId id="2147483906" r:id="rId19"/>
    <p:sldLayoutId id="2147483907" r:id="rId20"/>
    <p:sldLayoutId id="2147483908" r:id="rId21"/>
    <p:sldLayoutId id="2147483909" r:id="rId22"/>
    <p:sldLayoutId id="2147483910" r:id="rId23"/>
    <p:sldLayoutId id="2147483911" r:id="rId24"/>
    <p:sldLayoutId id="2147483912" r:id="rId25"/>
    <p:sldLayoutId id="2147483913" r:id="rId26"/>
    <p:sldLayoutId id="2147483914" r:id="rId27"/>
    <p:sldLayoutId id="2147483915" r:id="rId28"/>
    <p:sldLayoutId id="2147483916" r:id="rId29"/>
    <p:sldLayoutId id="2147483917" r:id="rId30"/>
    <p:sldLayoutId id="2147483918" r:id="rId31"/>
    <p:sldLayoutId id="2147483919" r:id="rId32"/>
    <p:sldLayoutId id="2147483920" r:id="rId33"/>
    <p:sldLayoutId id="2147483921" r:id="rId34"/>
    <p:sldLayoutId id="2147483922" r:id="rId35"/>
    <p:sldLayoutId id="2147483923" r:id="rId36"/>
    <p:sldLayoutId id="2147483924" r:id="rId37"/>
    <p:sldLayoutId id="2147483925" r:id="rId38"/>
    <p:sldLayoutId id="2147483926" r:id="rId39"/>
    <p:sldLayoutId id="2147483927" r:id="rId40"/>
    <p:sldLayoutId id="2147483928" r:id="rId41"/>
  </p:sldLayoutIdLst>
  <p:transition>
    <p:fade/>
  </p:transition>
  <p:hf hdr="0" dt="0"/>
  <p:txStyles>
    <p:titleStyle>
      <a:lvl1pPr algn="l" defTabSz="914400" rtl="0" eaLnBrk="1" latinLnBrk="0" hangingPunct="1">
        <a:spcBef>
          <a:spcPct val="0"/>
        </a:spcBef>
        <a:buNone/>
        <a:defRPr sz="2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0"/>
        </a:spcBef>
        <a:spcAft>
          <a:spcPts val="1000"/>
        </a:spcAft>
        <a:buSzPct val="100000"/>
        <a:buFont typeface="Arial" panose="020B0604020202020204" pitchFamily="34" charset="0"/>
        <a:buNone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/>
        <a:buNone/>
        <a:defRPr lang="en-US" sz="1200" b="1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176400" indent="-1764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•"/>
        <a:defRPr lang="en-US" sz="12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356400" indent="-1764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Verdana" panose="020B0604030504040204" pitchFamily="34" charset="0"/>
        <a:buChar char="−"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32800" indent="-176400" algn="l" defTabSz="798513" rtl="0" eaLnBrk="1" latinLnBrk="0" hangingPunct="1">
        <a:spcBef>
          <a:spcPts val="0"/>
        </a:spcBef>
        <a:spcAft>
          <a:spcPts val="1000"/>
        </a:spcAft>
        <a:buClrTx/>
        <a:buSzPct val="100000"/>
        <a:buFont typeface="Verdana" panose="020B0604030504040204" pitchFamily="34" charset="0"/>
        <a:buChar char="−"/>
        <a:tabLst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3834" userDrawn="1">
          <p15:clr>
            <a:srgbClr val="F26B43"/>
          </p15:clr>
        </p15:guide>
        <p15:guide id="2" orient="horz" pos="2160" userDrawn="1">
          <p15:clr>
            <a:srgbClr val="F26B43"/>
          </p15:clr>
        </p15:guide>
        <p15:guide id="3" orient="horz" pos="4020" userDrawn="1">
          <p15:clr>
            <a:srgbClr val="F26B43"/>
          </p15:clr>
        </p15:guide>
        <p15:guide id="4" pos="237" userDrawn="1">
          <p15:clr>
            <a:srgbClr val="F26B43"/>
          </p15:clr>
        </p15:guide>
        <p15:guide id="5" pos="5523" userDrawn="1">
          <p15:clr>
            <a:srgbClr val="F26B43"/>
          </p15:clr>
        </p15:guide>
        <p15:guide id="6" orient="horz" pos="1071" userDrawn="1">
          <p15:clr>
            <a:srgbClr val="F26B43"/>
          </p15:clr>
        </p15:guide>
        <p15:guide id="7" orient="horz" pos="200" userDrawn="1">
          <p15:clr>
            <a:srgbClr val="F26B43"/>
          </p15:clr>
        </p15:guide>
        <p15:guide id="8" orient="horz" pos="4080" userDrawn="1">
          <p15:clr>
            <a:srgbClr val="F26B43"/>
          </p15:clr>
        </p15:guide>
        <p15:guide id="10" pos="3721" userDrawn="1">
          <p15:clr>
            <a:srgbClr val="F26B43"/>
          </p15:clr>
        </p15:guide>
        <p15:guide id="11" orient="horz" pos="236" userDrawn="1">
          <p15:clr>
            <a:srgbClr val="F26B43"/>
          </p15:clr>
        </p15:guide>
        <p15:guide id="12" pos="1022" userDrawn="1">
          <p15:clr>
            <a:srgbClr val="F26B43"/>
          </p15:clr>
        </p15:guide>
        <p15:guide id="13" pos="1137" userDrawn="1">
          <p15:clr>
            <a:srgbClr val="F26B43"/>
          </p15:clr>
        </p15:guide>
        <p15:guide id="14" pos="1920" userDrawn="1">
          <p15:clr>
            <a:srgbClr val="F26B43"/>
          </p15:clr>
        </p15:guide>
        <p15:guide id="15" pos="2033" userDrawn="1">
          <p15:clr>
            <a:srgbClr val="F26B43"/>
          </p15:clr>
        </p15:guide>
        <p15:guide id="16" pos="4620" userDrawn="1">
          <p15:clr>
            <a:srgbClr val="F26B43"/>
          </p15:clr>
        </p15:guide>
        <p15:guide id="17" pos="2823" userDrawn="1">
          <p15:clr>
            <a:srgbClr val="F26B43"/>
          </p15:clr>
        </p15:guide>
        <p15:guide id="18" pos="2937" userDrawn="1">
          <p15:clr>
            <a:srgbClr val="F26B43"/>
          </p15:clr>
        </p15:guide>
        <p15:guide id="19" pos="2880" userDrawn="1">
          <p15:clr>
            <a:srgbClr val="F26B43"/>
          </p15:clr>
        </p15:guide>
        <p15:guide id="20" pos="4734" userDrawn="1">
          <p15:clr>
            <a:srgbClr val="F26B43"/>
          </p15:clr>
        </p15:guide>
        <p15:guide id="21" orient="horz" pos="1049" userDrawn="1">
          <p15:clr>
            <a:srgbClr val="F26B43"/>
          </p15:clr>
        </p15:guide>
        <p15:guide id="22" orient="horz" pos="6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noProof="0" dirty="0" smtClean="0"/>
              <a:t>Considerations</a:t>
            </a:r>
            <a:endParaRPr lang="en-US" noProof="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hysical security</a:t>
            </a:r>
            <a:endParaRPr lang="en-US" noProof="0" dirty="0"/>
          </a:p>
        </p:txBody>
      </p:sp>
      <p:graphicFrame>
        <p:nvGraphicFramePr>
          <p:cNvPr id="14" name="Table 1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56785053"/>
              </p:ext>
            </p:extLst>
          </p:nvPr>
        </p:nvGraphicFramePr>
        <p:xfrm>
          <a:off x="376237" y="1893763"/>
          <a:ext cx="5534705" cy="41466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27338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26132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81631">
                <a:tc>
                  <a:txBody>
                    <a:bodyPr/>
                    <a:lstStyle/>
                    <a:p>
                      <a:pPr marL="0" indent="0">
                        <a:spcBef>
                          <a:spcPts val="300"/>
                        </a:spcBef>
                        <a:buFont typeface="Arial" panose="020B0604020202020204" pitchFamily="34" charset="0"/>
                        <a:buNone/>
                      </a:pPr>
                      <a:r>
                        <a:rPr lang="en-US" sz="900" b="1" dirty="0" smtClean="0">
                          <a:solidFill>
                            <a:schemeClr val="tx1"/>
                          </a:solidFill>
                          <a:latin typeface="+mn-lt"/>
                        </a:rPr>
                        <a:t>Legal basis</a:t>
                      </a:r>
                      <a:endParaRPr lang="en-US" sz="900" b="1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84719" marR="84719" marT="84719" marB="84719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ts val="300"/>
                        </a:spcBef>
                        <a:buFont typeface="Arial" panose="020B0604020202020204" pitchFamily="34" charset="0"/>
                        <a:buNone/>
                      </a:pPr>
                      <a:r>
                        <a:rPr lang="en-US" sz="900" b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Legitimate</a:t>
                      </a:r>
                      <a:r>
                        <a:rPr lang="en-US" sz="900" b="0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 interest</a:t>
                      </a:r>
                    </a:p>
                    <a:p>
                      <a:pPr marL="0" indent="0">
                        <a:spcBef>
                          <a:spcPts val="300"/>
                        </a:spcBef>
                        <a:buFont typeface="Arial" panose="020B0604020202020204" pitchFamily="34" charset="0"/>
                        <a:buNone/>
                      </a:pPr>
                      <a:r>
                        <a:rPr lang="en-US" sz="900" b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Legal</a:t>
                      </a:r>
                      <a:r>
                        <a:rPr lang="en-US" sz="900" b="0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 obligation: 333 / 2003</a:t>
                      </a:r>
                      <a:endParaRPr lang="en-US" sz="900" b="0" dirty="0" smtClean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84719" marR="84719" marT="84719" marB="84719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81631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900" b="1" dirty="0" smtClean="0">
                          <a:solidFill>
                            <a:schemeClr val="tx1"/>
                          </a:solidFill>
                          <a:latin typeface="+mn-lt"/>
                        </a:rPr>
                        <a:t>Security</a:t>
                      </a:r>
                      <a:r>
                        <a:rPr lang="en-US" sz="900" b="1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 controls</a:t>
                      </a:r>
                      <a:endParaRPr lang="en-US" sz="900" b="1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84719" marR="84719" marT="84719" marB="84719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900" b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Reception (receptionist, access control)</a:t>
                      </a:r>
                    </a:p>
                    <a:p>
                      <a:pPr marL="171450" marR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900" b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Alarm</a:t>
                      </a:r>
                    </a:p>
                    <a:p>
                      <a:pPr marL="171450" marR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900" b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CCTV: perimeter</a:t>
                      </a:r>
                      <a:r>
                        <a:rPr lang="en-US" sz="900" b="0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 security, c</a:t>
                      </a:r>
                      <a:r>
                        <a:rPr lang="en-US" sz="900" b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ommon</a:t>
                      </a:r>
                      <a:r>
                        <a:rPr lang="en-US" sz="900" b="0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 areas, parking places</a:t>
                      </a:r>
                      <a:endParaRPr lang="en-US" sz="9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84719" marR="84719" marT="84719" marB="84719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81631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900" b="1" dirty="0" smtClean="0">
                          <a:solidFill>
                            <a:schemeClr val="tx1"/>
                          </a:solidFill>
                          <a:latin typeface="+mn-lt"/>
                        </a:rPr>
                        <a:t>Personal</a:t>
                      </a:r>
                      <a:r>
                        <a:rPr lang="en-US" sz="900" b="1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 data</a:t>
                      </a:r>
                      <a:endParaRPr lang="en-US" sz="900" b="1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84719" marR="84719" marT="84719" marB="84719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ts val="300"/>
                        </a:spcBef>
                        <a:buFont typeface="Arial" panose="020B0604020202020204" pitchFamily="34" charset="0"/>
                        <a:buNone/>
                      </a:pPr>
                      <a:r>
                        <a:rPr lang="en-US" sz="900" b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Employees</a:t>
                      </a:r>
                    </a:p>
                    <a:p>
                      <a:pPr marL="0" indent="0">
                        <a:spcBef>
                          <a:spcPts val="300"/>
                        </a:spcBef>
                        <a:buFont typeface="Arial" panose="020B0604020202020204" pitchFamily="34" charset="0"/>
                        <a:buNone/>
                      </a:pPr>
                      <a:r>
                        <a:rPr lang="en-US" sz="900" b="0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Visitors</a:t>
                      </a:r>
                      <a:endParaRPr lang="en-US" sz="9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84719" marR="84719" marT="84719" marB="84719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81631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900" b="1" dirty="0" smtClean="0">
                          <a:solidFill>
                            <a:schemeClr val="tx1"/>
                          </a:solidFill>
                          <a:latin typeface="+mn-lt"/>
                        </a:rPr>
                        <a:t>Requirements</a:t>
                      </a:r>
                      <a:endParaRPr lang="en-US" sz="900" b="1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84719" marR="84719" marT="84719" marB="84719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900" b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Notification – employees</a:t>
                      </a:r>
                    </a:p>
                    <a:p>
                      <a:pPr marL="171450" marR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900" b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Warning signs - visitors</a:t>
                      </a:r>
                    </a:p>
                    <a:p>
                      <a:pPr marL="171450" marR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900" b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Access register</a:t>
                      </a:r>
                    </a:p>
                    <a:p>
                      <a:pPr marL="171450" marR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900" b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Event register</a:t>
                      </a:r>
                    </a:p>
                    <a:p>
                      <a:pPr marL="171450" marR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900" b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Storage period</a:t>
                      </a:r>
                    </a:p>
                    <a:p>
                      <a:pPr marL="171450" marR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900" b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Disposal / destruction</a:t>
                      </a:r>
                      <a:endParaRPr lang="en-US" sz="9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84719" marR="84719" marT="84719" marB="84719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81631">
                <a:tc>
                  <a:txBody>
                    <a:bodyPr/>
                    <a:lstStyle/>
                    <a:p>
                      <a:pPr marL="0" indent="0">
                        <a:spcBef>
                          <a:spcPts val="300"/>
                        </a:spcBef>
                        <a:buFont typeface="Arial" panose="020B0604020202020204" pitchFamily="34" charset="0"/>
                        <a:buNone/>
                      </a:pPr>
                      <a:r>
                        <a:rPr lang="en-US" sz="900" b="1" dirty="0" smtClean="0">
                          <a:solidFill>
                            <a:schemeClr val="tx1"/>
                          </a:solidFill>
                          <a:latin typeface="+mn-lt"/>
                        </a:rPr>
                        <a:t>Other aspects</a:t>
                      </a:r>
                      <a:endParaRPr lang="en-US" sz="900" b="1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84719" marR="84719" marT="84719" marB="84719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900" b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Camera placement: visible, on common areas (not inside offices, toilets)</a:t>
                      </a:r>
                    </a:p>
                    <a:p>
                      <a:pPr marL="171450" marR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900" b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Video</a:t>
                      </a:r>
                      <a:r>
                        <a:rPr lang="en-US" sz="900" b="0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 surveillance should not bring prejudice to rights and freedoms of individuals</a:t>
                      </a:r>
                    </a:p>
                    <a:p>
                      <a:pPr marL="171450" marR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900" b="0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Camera footage is PD although not associated with identification data, or do not contain person’s image (</a:t>
                      </a:r>
                      <a:r>
                        <a:rPr lang="en-US" sz="900" b="0" baseline="0" dirty="0" err="1" smtClean="0">
                          <a:solidFill>
                            <a:schemeClr val="tx1"/>
                          </a:solidFill>
                          <a:latin typeface="+mn-lt"/>
                        </a:rPr>
                        <a:t>eg</a:t>
                      </a:r>
                      <a:r>
                        <a:rPr lang="en-US" sz="900" b="0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.: license plate number)</a:t>
                      </a:r>
                      <a:endParaRPr lang="en-US" sz="9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84719" marR="84719" marT="84719" marB="84719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16" name="Pentagon 15"/>
          <p:cNvSpPr/>
          <p:nvPr/>
        </p:nvSpPr>
        <p:spPr>
          <a:xfrm>
            <a:off x="2667000" y="1253099"/>
            <a:ext cx="2993135" cy="508318"/>
          </a:xfrm>
          <a:prstGeom prst="homePlate">
            <a:avLst/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2366" tIns="82366" rIns="82366" bIns="82366" rtlCol="0" anchor="ctr"/>
          <a:lstStyle/>
          <a:p>
            <a:r>
              <a:rPr lang="en-US" sz="1026" b="1" dirty="0">
                <a:solidFill>
                  <a:schemeClr val="bg1"/>
                </a:solidFill>
              </a:rPr>
              <a:t>Office buildings, warehouses</a:t>
            </a:r>
          </a:p>
        </p:txBody>
      </p:sp>
      <p:sp>
        <p:nvSpPr>
          <p:cNvPr id="11" name="Content Placeholder 3"/>
          <p:cNvSpPr txBox="1">
            <a:spLocks/>
          </p:cNvSpPr>
          <p:nvPr/>
        </p:nvSpPr>
        <p:spPr>
          <a:xfrm>
            <a:off x="6153878" y="1253099"/>
            <a:ext cx="2881269" cy="5206312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1000"/>
              </a:spcAft>
              <a:buSzPct val="100000"/>
              <a:buFont typeface="Arial" panose="020B0604020202020204" pitchFamily="34" charset="0"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/>
              <a:buNone/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64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564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2800" indent="-176400" algn="l" defTabSz="798513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buFont typeface="Arial" panose="020B0604020202020204" pitchFamily="34" charset="0"/>
              <a:buChar char="•"/>
            </a:pPr>
            <a:endParaRPr lang="en-US" sz="2000" dirty="0" smtClean="0">
              <a:solidFill>
                <a:schemeClr val="accent3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000" dirty="0" smtClean="0">
              <a:solidFill>
                <a:schemeClr val="accent3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 smtClean="0">
                <a:solidFill>
                  <a:schemeClr val="accent3"/>
                </a:solidFill>
              </a:rPr>
              <a:t>Alarm</a:t>
            </a:r>
            <a:endParaRPr lang="en-US" sz="2000" dirty="0">
              <a:solidFill>
                <a:schemeClr val="accent3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accent3"/>
                </a:solidFill>
              </a:rPr>
              <a:t>Access control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accent3"/>
                </a:solidFill>
              </a:rPr>
              <a:t>CCTV</a:t>
            </a:r>
          </a:p>
          <a:p>
            <a:endParaRPr lang="en-US" sz="2000" dirty="0" smtClean="0">
              <a:solidFill>
                <a:schemeClr val="accent3"/>
              </a:solidFill>
            </a:endParaRPr>
          </a:p>
          <a:p>
            <a:r>
              <a:rPr lang="en-US" sz="2000" dirty="0" smtClean="0">
                <a:solidFill>
                  <a:schemeClr val="accent3"/>
                </a:solidFill>
              </a:rPr>
              <a:t>Security </a:t>
            </a:r>
            <a:r>
              <a:rPr lang="en-US" sz="2000" dirty="0">
                <a:solidFill>
                  <a:schemeClr val="accent3"/>
                </a:solidFill>
              </a:rPr>
              <a:t>companies: processors</a:t>
            </a:r>
          </a:p>
          <a:p>
            <a:r>
              <a:rPr lang="en-US" sz="2000" dirty="0">
                <a:solidFill>
                  <a:schemeClr val="accent3"/>
                </a:solidFill>
              </a:rPr>
              <a:t>Personnel training</a:t>
            </a:r>
          </a:p>
          <a:p>
            <a:r>
              <a:rPr lang="en-US" sz="2000" dirty="0">
                <a:solidFill>
                  <a:schemeClr val="accent3"/>
                </a:solidFill>
              </a:rPr>
              <a:t>Confidentiality</a:t>
            </a:r>
          </a:p>
          <a:p>
            <a:r>
              <a:rPr lang="en-US" sz="2000" dirty="0">
                <a:solidFill>
                  <a:schemeClr val="accent3"/>
                </a:solidFill>
              </a:rPr>
              <a:t>Maintenance</a:t>
            </a:r>
          </a:p>
          <a:p>
            <a:endParaRPr lang="en-US" sz="2000" dirty="0">
              <a:solidFill>
                <a:schemeClr val="accent3"/>
              </a:solidFill>
            </a:endParaRPr>
          </a:p>
          <a:p>
            <a:endParaRPr lang="en-US" sz="2000" dirty="0">
              <a:solidFill>
                <a:schemeClr val="accent3"/>
              </a:solidFill>
            </a:endParaRPr>
          </a:p>
          <a:p>
            <a:endParaRPr lang="en-US" sz="2000" dirty="0">
              <a:solidFill>
                <a:schemeClr val="accent3"/>
              </a:solidFill>
            </a:endParaRPr>
          </a:p>
          <a:p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15865136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Placeholder 7"/>
          <p:cNvPicPr>
            <a:picLocks noGrp="1" noChangeAspect="1"/>
          </p:cNvPicPr>
          <p:nvPr>
            <p:ph type="pic" sz="quarter" idx="1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" r="15"/>
          <a:stretch>
            <a:fillRect/>
          </a:stretch>
        </p:blipFill>
        <p:spPr>
          <a:xfrm>
            <a:off x="1313335" y="472649"/>
            <a:ext cx="5400000" cy="5400000"/>
          </a:xfrm>
        </p:spPr>
      </p:pic>
      <p:sp>
        <p:nvSpPr>
          <p:cNvPr id="4" name="Subtitle 3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smtClean="0"/>
              <a:t>GDPR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smtClean="0"/>
              <a:t>March</a:t>
            </a:r>
            <a:r>
              <a:rPr lang="en-US" noProof="0" dirty="0" smtClean="0"/>
              <a:t> 2018</a:t>
            </a:r>
            <a:endParaRPr lang="en-US" noProof="0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51512" y="285809"/>
            <a:ext cx="2655763" cy="3736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590703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loitte 16_9 onscreen">
  <a:themeElements>
    <a:clrScheme name="Deloitte colors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�"/>
          <a:defRPr dirty="0" smtClean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Deloitte_4_3_Onscreen.potx" id="{300F3ED9-9C4C-4838-B157-107BB206E623}" vid="{ABD9136E-862F-4680-B56C-E8832C898BE1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Intranet Attachment" ma:contentTypeID="0x01010045A37AAC9C7144A6950E04930CA3134B0089AE5B1B1D9AF949B256CAA2DE39D3C6" ma:contentTypeVersion="9" ma:contentTypeDescription="Intranet Attachment - Content Type" ma:contentTypeScope="" ma:versionID="a0daffe0ec7d2ae50deb9881dcc303f8">
  <xsd:schema xmlns:xsd="http://www.w3.org/2001/XMLSchema" xmlns:xs="http://www.w3.org/2001/XMLSchema" xmlns:p="http://schemas.microsoft.com/office/2006/metadata/properties" xmlns:ns1="http://schemas.microsoft.com/sharepoint/v3" xmlns:ns2="8DD08C88-CC4C-4D35-9129-A70DAA36BE5E" xmlns:ns4="83DDB362-4C05-4E52-A8D9-EF2F47978B8D" xmlns:ns5="7D1768DD-F29E-4DC2-9191-F2636B9FA92C" xmlns:ns6="5a51c775-c49c-428b-8c1e-2f89178d00f4" xmlns:ns7="8315673e-6c53-4db2-9864-725b19b971c7" xmlns:ns8="39C40E9B-856B-46A7-8793-65A6FC1828D8" xmlns:ns10="203f0f4d-b3b9-4ed8-8c19-eebed11dd308" targetNamespace="http://schemas.microsoft.com/office/2006/metadata/properties" ma:root="true" ma:fieldsID="572d33e1e9d74ba97025af8d8fb6e41b" ns1:_="" ns2:_="" ns4:_="" ns5:_="" ns6:_="" ns7:_="" ns8:_="" ns10:_="">
    <xsd:import namespace="http://schemas.microsoft.com/sharepoint/v3"/>
    <xsd:import namespace="8DD08C88-CC4C-4D35-9129-A70DAA36BE5E"/>
    <xsd:import namespace="83DDB362-4C05-4E52-A8D9-EF2F47978B8D"/>
    <xsd:import namespace="7D1768DD-F29E-4DC2-9191-F2636B9FA92C"/>
    <xsd:import namespace="5a51c775-c49c-428b-8c1e-2f89178d00f4"/>
    <xsd:import namespace="8315673e-6c53-4db2-9864-725b19b971c7"/>
    <xsd:import namespace="39C40E9B-856B-46A7-8793-65A6FC1828D8"/>
    <xsd:import namespace="203f0f4d-b3b9-4ed8-8c19-eebed11dd308"/>
    <xsd:element name="properties">
      <xsd:complexType>
        <xsd:sequence>
          <xsd:element name="documentManagement">
            <xsd:complexType>
              <xsd:all>
                <xsd:element ref="ns1:PublishingStartDate" minOccurs="0"/>
                <xsd:element ref="ns1:PublishingExpirationDate" minOccurs="0"/>
                <xsd:element ref="ns2:Global_x0020_Content_x0020_TypeTaxHTField0" minOccurs="0"/>
                <xsd:element ref="ns4:Global_x0020_IndustryTaxHTField0" minOccurs="0"/>
                <xsd:element ref="ns5:Global_x0020_Client_x0020_ServicesTaxHTField0" minOccurs="0"/>
                <xsd:element ref="ns2:Local_x0020_Content_x0020_TypeTaxHTField0" minOccurs="0"/>
                <xsd:element ref="ns4:Local_x0020_IndustryTaxHTField0" minOccurs="0"/>
                <xsd:element ref="ns5:Local_x0020_Client_x0020_ServicesTaxHTField0" minOccurs="0"/>
                <xsd:element ref="ns6:GeographyTaxHTField0" minOccurs="0"/>
                <xsd:element ref="ns7:TaxKeywordTaxHTField" minOccurs="0"/>
                <xsd:element ref="ns7:TaxCatchAll" minOccurs="0"/>
                <xsd:element ref="ns8:LanguageBTaxHTField0" minOccurs="0"/>
                <xsd:element ref="ns1:PublishingContact" minOccurs="0"/>
                <xsd:element ref="ns7:SearchComment" minOccurs="0"/>
                <xsd:element ref="ns7:SearchKeywords" minOccurs="0"/>
                <xsd:element ref="ns10:DR_Descrip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PublishingStartDate" ma:index="8" nillable="true" ma:displayName="Scheduling Start Date" ma:internalName="PublishingStartDate">
      <xsd:simpleType>
        <xsd:restriction base="dms:Unknown"/>
      </xsd:simpleType>
    </xsd:element>
    <xsd:element name="PublishingExpirationDate" ma:index="9" nillable="true" ma:displayName="Scheduling End Date" ma:internalName="PublishingExpirationDate">
      <xsd:simpleType>
        <xsd:restriction base="dms:Unknown"/>
      </xsd:simpleType>
    </xsd:element>
    <xsd:element name="PublishingContact" ma:index="29" nillable="true" ma:displayName="Contact" ma:list="UserInfo" ma:internalName="PublishingContact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DD08C88-CC4C-4D35-9129-A70DAA36BE5E" elementFormDefault="qualified">
    <xsd:import namespace="http://schemas.microsoft.com/office/2006/documentManagement/types"/>
    <xsd:import namespace="http://schemas.microsoft.com/office/infopath/2007/PartnerControls"/>
    <xsd:element name="Global_x0020_Content_x0020_TypeTaxHTField0" ma:index="10" nillable="true" ma:taxonomy="true" ma:internalName="Global_x0020_Content_x0020_TypeTaxH" ma:taxonomyFieldName="Global_x0020_Content_x0020_Type" ma:displayName="Global Content Type" ma:fieldId="{c9ea7640-adb2-4a99-8b8d-9790ccd879fc}" ma:taxonomyMulti="true" ma:sspId="155bb128-613e-4099-96fa-4403fd0cc87b" ma:termSetId="c1d74e5f-813e-428a-9d1d-e00dfcad3136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Local_x0020_Content_x0020_TypeTaxHTField0" ma:index="16" nillable="true" ma:taxonomy="true" ma:internalName="Local_x0020_Content_x0020_TypeTaxH" ma:taxonomyFieldName="Local_x0020_Content_x0020_Type" ma:displayName="Local Content Type" ma:fieldId="{f9592373-de5e-451c-bee5-c5fc319384b2}" ma:taxonomyMulti="true" ma:sspId="155bb128-613e-4099-96fa-4403fd0cc87b" ma:termSetId="71325c3c-855f-4016-ae90-48a98c58e6a3" ma:anchorId="00000000-0000-0000-0000-000000000000" ma:open="fals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3DDB362-4C05-4E52-A8D9-EF2F47978B8D" elementFormDefault="qualified">
    <xsd:import namespace="http://schemas.microsoft.com/office/2006/documentManagement/types"/>
    <xsd:import namespace="http://schemas.microsoft.com/office/infopath/2007/PartnerControls"/>
    <xsd:element name="Global_x0020_IndustryTaxHTField0" ma:index="12" nillable="true" ma:taxonomy="true" ma:internalName="Global_x0020_IndustryTaxH" ma:taxonomyFieldName="Global_x0020_Industry" ma:displayName="Global Industry" ma:fieldId="{df491b90-4417-47d2-8d23-a7342d423c05}" ma:taxonomyMulti="true" ma:sspId="155bb128-613e-4099-96fa-4403fd0cc87b" ma:termSetId="30ef725a-a352-4b6b-b897-20d376f351a7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Local_x0020_IndustryTaxHTField0" ma:index="18" nillable="true" ma:taxonomy="true" ma:internalName="Local_x0020_IndustryTaxH" ma:taxonomyFieldName="Local_x0020_Industry" ma:displayName="Local Industry" ma:fieldId="{c3b7b5d6-88d7-4c9c-ba5a-ea3984318e23}" ma:taxonomyMulti="true" ma:sspId="155bb128-613e-4099-96fa-4403fd0cc87b" ma:termSetId="0f50edd8-f180-4274-afbc-8048378743e9" ma:anchorId="00000000-0000-0000-0000-000000000000" ma:open="fals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D1768DD-F29E-4DC2-9191-F2636B9FA92C" elementFormDefault="qualified">
    <xsd:import namespace="http://schemas.microsoft.com/office/2006/documentManagement/types"/>
    <xsd:import namespace="http://schemas.microsoft.com/office/infopath/2007/PartnerControls"/>
    <xsd:element name="Global_x0020_Client_x0020_ServicesTaxHTField0" ma:index="14" nillable="true" ma:taxonomy="true" ma:internalName="Global_x0020_Client_x0020_ServicesTaxH" ma:taxonomyFieldName="Global_x0020_Client_x0020_Services" ma:displayName="Global Client Services" ma:fieldId="{8ed687d5-3528-48ef-a924-80521903bc78}" ma:taxonomyMulti="true" ma:sspId="155bb128-613e-4099-96fa-4403fd0cc87b" ma:termSetId="44905aca-31e9-4e2c-a2a6-9ecd7fd47edd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Local_x0020_Client_x0020_ServicesTaxHTField0" ma:index="20" nillable="true" ma:taxonomy="true" ma:internalName="Local_x0020_Client_x0020_ServicesTaxH" ma:taxonomyFieldName="Local_x0020_Client_x0020_Services" ma:displayName="Local Client Services" ma:fieldId="{710f8f79-460c-4899-83de-22ebc15c7f35}" ma:taxonomyMulti="true" ma:sspId="155bb128-613e-4099-96fa-4403fd0cc87b" ma:termSetId="587f4f2d-e2a8-4747-91a8-ad30e3463844" ma:anchorId="00000000-0000-0000-0000-000000000000" ma:open="fals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a51c775-c49c-428b-8c1e-2f89178d00f4" elementFormDefault="qualified">
    <xsd:import namespace="http://schemas.microsoft.com/office/2006/documentManagement/types"/>
    <xsd:import namespace="http://schemas.microsoft.com/office/infopath/2007/PartnerControls"/>
    <xsd:element name="GeographyTaxHTField0" ma:index="22" ma:taxonomy="true" ma:internalName="GeographyTaxH" ma:taxonomyFieldName="Geography" ma:displayName="Geography" ma:fieldId="{b1dab815-7eaf-4f42-958c-926f58efb7da}" ma:taxonomyMulti="true" ma:sspId="155bb128-613e-4099-96fa-4403fd0cc87b" ma:termSetId="17bed538-0ecf-4a0a-aaaf-d58d2a12aeb5" ma:anchorId="00000000-0000-0000-0000-000000000000" ma:open="fals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315673e-6c53-4db2-9864-725b19b971c7" elementFormDefault="qualified">
    <xsd:import namespace="http://schemas.microsoft.com/office/2006/documentManagement/types"/>
    <xsd:import namespace="http://schemas.microsoft.com/office/infopath/2007/PartnerControls"/>
    <xsd:element name="TaxKeywordTaxHTField" ma:index="25" nillable="true" ma:taxonomy="true" ma:internalName="TaxKeywordTaxHTField" ma:taxonomyFieldName="TaxKeyword" ma:displayName="Enterprise Keywords" ma:fieldId="{23f27201-bee3-471e-b2e7-b64fd8b7ca38}" ma:taxonomyMulti="true" ma:sspId="00000000-0000-0000-0000-000000000000" ma:termSetId="00000000-0000-0000-0000-000000000000" ma:anchorId="00000000-0000-0000-0000-000000000000" ma:open="true" ma:isKeyword="true">
      <xsd:complexType>
        <xsd:sequence>
          <xsd:element ref="pc:Terms" minOccurs="0" maxOccurs="1"/>
        </xsd:sequence>
      </xsd:complexType>
    </xsd:element>
    <xsd:element name="TaxCatchAll" ma:index="26" nillable="true" ma:displayName="Taxonomy Catch All Column" ma:hidden="true" ma:list="{29f77db5-cf6a-4d56-b764-10c4a87e1ebf}" ma:internalName="TaxCatchAll" ma:showField="CatchAllData" ma:web="8315673e-6c53-4db2-9864-725b19b971c7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earchComment" ma:index="31" nillable="true" ma:displayName="Comment" ma:internalName="SearchComment">
      <xsd:simpleType>
        <xsd:restriction base="dms:Note">
          <xsd:maxLength value="255"/>
        </xsd:restriction>
      </xsd:simpleType>
    </xsd:element>
    <xsd:element name="SearchKeywords" ma:index="32" nillable="true" ma:displayName="Keyword(s)" ma:internalName="SearchKeywords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9C40E9B-856B-46A7-8793-65A6FC1828D8" elementFormDefault="qualified">
    <xsd:import namespace="http://schemas.microsoft.com/office/2006/documentManagement/types"/>
    <xsd:import namespace="http://schemas.microsoft.com/office/infopath/2007/PartnerControls"/>
    <xsd:element name="LanguageBTaxHTField0" ma:index="27" ma:taxonomy="true" ma:internalName="LanguageBTaxH" ma:taxonomyFieldName="LanguageB" ma:displayName="Language" ma:fieldId="{264823c8-7255-4fb1-8550-4386b0b212a8}" ma:taxonomyMulti="true" ma:sspId="155bb128-613e-4099-96fa-4403fd0cc87b" ma:termSetId="af9198f1-74aa-4e26-b87e-e1ce7d7e6bdb" ma:anchorId="00000000-0000-0000-0000-000000000000" ma:open="fals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03f0f4d-b3b9-4ed8-8c19-eebed11dd308" elementFormDefault="qualified">
    <xsd:import namespace="http://schemas.microsoft.com/office/2006/documentManagement/types"/>
    <xsd:import namespace="http://schemas.microsoft.com/office/infopath/2007/PartnerControls"/>
    <xsd:element name="DR_Description" ma:index="33" nillable="true" ma:displayName="Description" ma:internalName="DR_Description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 ma:index="30" ma:displayName="Subject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anguageBTaxHTField0 xmlns="39C40E9B-856B-46A7-8793-65A6FC1828D8">
      <Terms xmlns="http://schemas.microsoft.com/office/infopath/2007/PartnerControls">
        <TermInfo xmlns="http://schemas.microsoft.com/office/infopath/2007/PartnerControls">
          <TermName xmlns="http://schemas.microsoft.com/office/infopath/2007/PartnerControls">English</TermName>
          <TermId xmlns="http://schemas.microsoft.com/office/infopath/2007/PartnerControls">b169a262-1aaa-4ccb-9acf-78a36c1d9bab</TermId>
        </TermInfo>
      </Terms>
    </LanguageBTaxHTField0>
    <TaxCatchAll xmlns="8315673e-6c53-4db2-9864-725b19b971c7">
      <Value>2</Value>
      <Value>1</Value>
    </TaxCatchAll>
    <TaxKeywordTaxHTField xmlns="8315673e-6c53-4db2-9864-725b19b971c7">
      <Terms xmlns="http://schemas.microsoft.com/office/infopath/2007/PartnerControls"/>
    </TaxKeywordTaxHTField>
    <SearchComment xmlns="8315673e-6c53-4db2-9864-725b19b971c7" xsi:nil="true"/>
    <Global_x0020_Client_x0020_ServicesTaxHTField0 xmlns="7D1768DD-F29E-4DC2-9191-F2636B9FA92C">
      <Terms xmlns="http://schemas.microsoft.com/office/infopath/2007/PartnerControls"/>
    </Global_x0020_Client_x0020_ServicesTaxHTField0>
    <Local_x0020_Content_x0020_TypeTaxHTField0 xmlns="8DD08C88-CC4C-4D35-9129-A70DAA36BE5E">
      <Terms xmlns="http://schemas.microsoft.com/office/infopath/2007/PartnerControls"/>
    </Local_x0020_Content_x0020_TypeTaxHTField0>
    <SearchKeywords xmlns="8315673e-6c53-4db2-9864-725b19b971c7" xsi:nil="true"/>
    <Global_x0020_Content_x0020_TypeTaxHTField0 xmlns="8DD08C88-CC4C-4D35-9129-A70DAA36BE5E">
      <Terms xmlns="http://schemas.microsoft.com/office/infopath/2007/PartnerControls"/>
    </Global_x0020_Content_x0020_TypeTaxHTField0>
    <GeographyTaxHTField0 xmlns="5a51c775-c49c-428b-8c1e-2f89178d00f4">
      <Terms xmlns="http://schemas.microsoft.com/office/infopath/2007/PartnerControls">
        <TermInfo xmlns="http://schemas.microsoft.com/office/infopath/2007/PartnerControls">
          <TermName xmlns="http://schemas.microsoft.com/office/infopath/2007/PartnerControls">Romania (RO) (2402)</TermName>
          <TermId xmlns="http://schemas.microsoft.com/office/infopath/2007/PartnerControls">fcfc4bdf-9062-4171-84d1-429b49b275a2</TermId>
        </TermInfo>
      </Terms>
    </GeographyTaxHTField0>
    <PublishingExpirationDate xmlns="http://schemas.microsoft.com/sharepoint/v3" xsi:nil="true"/>
    <Local_x0020_Client_x0020_ServicesTaxHTField0 xmlns="7D1768DD-F29E-4DC2-9191-F2636B9FA92C">
      <Terms xmlns="http://schemas.microsoft.com/office/infopath/2007/PartnerControls"/>
    </Local_x0020_Client_x0020_ServicesTaxHTField0>
    <DR_Description xmlns="203f0f4d-b3b9-4ed8-8c19-eebed11dd308" xsi:nil="true"/>
    <PublishingStartDate xmlns="http://schemas.microsoft.com/sharepoint/v3" xsi:nil="true"/>
    <Local_x0020_IndustryTaxHTField0 xmlns="83DDB362-4C05-4E52-A8D9-EF2F47978B8D">
      <Terms xmlns="http://schemas.microsoft.com/office/infopath/2007/PartnerControls"/>
    </Local_x0020_IndustryTaxHTField0>
    <Global_x0020_IndustryTaxHTField0 xmlns="83DDB362-4C05-4E52-A8D9-EF2F47978B8D">
      <Terms xmlns="http://schemas.microsoft.com/office/infopath/2007/PartnerControls"/>
    </Global_x0020_IndustryTaxHTField0>
    <PublishingContact xmlns="http://schemas.microsoft.com/sharepoint/v3">
      <UserInfo>
        <DisplayName/>
        <AccountId xsi:nil="true"/>
        <AccountType/>
      </UserInfo>
    </PublishingContact>
  </documentManagement>
</p:properties>
</file>

<file path=customXml/itemProps1.xml><?xml version="1.0" encoding="utf-8"?>
<ds:datastoreItem xmlns:ds="http://schemas.openxmlformats.org/officeDocument/2006/customXml" ds:itemID="{D0AB4B47-563C-4FE1-8124-136C02EE17B1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1479C324-60E5-4EB2-AF8C-7A6C1065D3B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8DD08C88-CC4C-4D35-9129-A70DAA36BE5E"/>
    <ds:schemaRef ds:uri="83DDB362-4C05-4E52-A8D9-EF2F47978B8D"/>
    <ds:schemaRef ds:uri="7D1768DD-F29E-4DC2-9191-F2636B9FA92C"/>
    <ds:schemaRef ds:uri="5a51c775-c49c-428b-8c1e-2f89178d00f4"/>
    <ds:schemaRef ds:uri="8315673e-6c53-4db2-9864-725b19b971c7"/>
    <ds:schemaRef ds:uri="39C40E9B-856B-46A7-8793-65A6FC1828D8"/>
    <ds:schemaRef ds:uri="203f0f4d-b3b9-4ed8-8c19-eebed11dd308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ADA4D002-2796-4AD2-BA2A-A130F2F75558}">
  <ds:schemaRefs>
    <ds:schemaRef ds:uri="http://schemas.openxmlformats.org/package/2006/metadata/core-properties"/>
    <ds:schemaRef ds:uri="http://schemas.microsoft.com/sharepoint/v3"/>
    <ds:schemaRef ds:uri="http://schemas.microsoft.com/office/2006/metadata/properties"/>
    <ds:schemaRef ds:uri="http://purl.org/dc/elements/1.1/"/>
    <ds:schemaRef ds:uri="203f0f4d-b3b9-4ed8-8c19-eebed11dd308"/>
    <ds:schemaRef ds:uri="83DDB362-4C05-4E52-A8D9-EF2F47978B8D"/>
    <ds:schemaRef ds:uri="http://purl.org/dc/dcmitype/"/>
    <ds:schemaRef ds:uri="http://schemas.microsoft.com/office/infopath/2007/PartnerControls"/>
    <ds:schemaRef ds:uri="8315673e-6c53-4db2-9864-725b19b971c7"/>
    <ds:schemaRef ds:uri="7D1768DD-F29E-4DC2-9191-F2636B9FA92C"/>
    <ds:schemaRef ds:uri="5a51c775-c49c-428b-8c1e-2f89178d00f4"/>
    <ds:schemaRef ds:uri="http://schemas.microsoft.com/office/2006/documentManagement/types"/>
    <ds:schemaRef ds:uri="http://www.w3.org/XML/1998/namespace"/>
    <ds:schemaRef ds:uri="8DD08C88-CC4C-4D35-9129-A70DAA36BE5E"/>
    <ds:schemaRef ds:uri="http://purl.org/dc/terms/"/>
    <ds:schemaRef ds:uri="39C40E9B-856B-46A7-8793-65A6FC1828D8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Deloitte_4_3_Onscreen</Template>
  <TotalTime>7359</TotalTime>
  <Words>128</Words>
  <Application>Microsoft Office PowerPoint</Application>
  <PresentationFormat>On-screen Show (4:3)</PresentationFormat>
  <Paragraphs>40</Paragraphs>
  <Slides>2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7" baseType="lpstr">
      <vt:lpstr>Arial</vt:lpstr>
      <vt:lpstr>Open Sans</vt:lpstr>
      <vt:lpstr>Verdana</vt:lpstr>
      <vt:lpstr>Deloitte 16_9 onscreen</vt:lpstr>
      <vt:lpstr>think-cell Slide</vt:lpstr>
      <vt:lpstr>Physical security</vt:lpstr>
      <vt:lpstr>PowerPoint Presentation</vt:lpstr>
    </vt:vector>
  </TitlesOfParts>
  <Company>Deloitte Touche Tohmatsu Services, Inc.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eloitte Screen</dc:title>
  <dc:subject/>
  <dc:creator>Antonie, Iulia (RO - Bucharest)</dc:creator>
  <cp:lastModifiedBy>Antonie, Iulia (RO - Bucharest)</cp:lastModifiedBy>
  <cp:revision>266</cp:revision>
  <cp:lastPrinted>2014-06-25T02:16:22Z</cp:lastPrinted>
  <dcterms:created xsi:type="dcterms:W3CDTF">2016-05-16T09:37:17Z</dcterms:created>
  <dcterms:modified xsi:type="dcterms:W3CDTF">2018-03-20T20:18:2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5A37AAC9C7144A6950E04930CA3134B0089AE5B1B1D9AF949B256CAA2DE39D3C6</vt:lpwstr>
  </property>
  <property fmtid="{D5CDD505-2E9C-101B-9397-08002B2CF9AE}" pid="3" name="Local Content Type">
    <vt:lpwstr/>
  </property>
  <property fmtid="{D5CDD505-2E9C-101B-9397-08002B2CF9AE}" pid="4" name="TaxKeyword">
    <vt:lpwstr/>
  </property>
  <property fmtid="{D5CDD505-2E9C-101B-9397-08002B2CF9AE}" pid="5" name="Global Client Services">
    <vt:lpwstr/>
  </property>
  <property fmtid="{D5CDD505-2E9C-101B-9397-08002B2CF9AE}" pid="6" name="Geography">
    <vt:lpwstr>1;#Romania (RO) (2402)|fcfc4bdf-9062-4171-84d1-429b49b275a2</vt:lpwstr>
  </property>
  <property fmtid="{D5CDD505-2E9C-101B-9397-08002B2CF9AE}" pid="7" name="Local Industry">
    <vt:lpwstr/>
  </property>
  <property fmtid="{D5CDD505-2E9C-101B-9397-08002B2CF9AE}" pid="8" name="Global Industry">
    <vt:lpwstr/>
  </property>
  <property fmtid="{D5CDD505-2E9C-101B-9397-08002B2CF9AE}" pid="9" name="LanguageB">
    <vt:lpwstr>2;#English|b169a262-1aaa-4ccb-9acf-78a36c1d9bab</vt:lpwstr>
  </property>
  <property fmtid="{D5CDD505-2E9C-101B-9397-08002B2CF9AE}" pid="10" name="Global Content Type">
    <vt:lpwstr/>
  </property>
  <property fmtid="{D5CDD505-2E9C-101B-9397-08002B2CF9AE}" pid="11" name="Local Client Services">
    <vt:lpwstr/>
  </property>
</Properties>
</file>